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305" r:id="rId2"/>
    <p:sldId id="257" r:id="rId3"/>
    <p:sldId id="256" r:id="rId4"/>
    <p:sldId id="258" r:id="rId5"/>
    <p:sldId id="259" r:id="rId6"/>
    <p:sldId id="260" r:id="rId7"/>
    <p:sldId id="306" r:id="rId8"/>
    <p:sldId id="307" r:id="rId9"/>
    <p:sldId id="311" r:id="rId10"/>
    <p:sldId id="309" r:id="rId1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0869BE2B-8801-4362-8C0B-529ECE9C0F12}">
          <p14:sldIdLst>
            <p14:sldId id="305"/>
          </p14:sldIdLst>
        </p14:section>
        <p14:section name="Fridge Freezer" id="{0A28EA42-EF96-478F-A049-F3B67640CA75}">
          <p14:sldIdLst>
            <p14:sldId id="257"/>
            <p14:sldId id="256"/>
            <p14:sldId id="258"/>
            <p14:sldId id="259"/>
            <p14:sldId id="260"/>
            <p14:sldId id="306"/>
            <p14:sldId id="307"/>
            <p14:sldId id="311"/>
            <p14:sldId id="3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4" pos="7582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pos="75" userDrawn="1">
          <p15:clr>
            <a:srgbClr val="A4A3A4"/>
          </p15:clr>
        </p15:guide>
        <p15:guide id="7" pos="3046" userDrawn="1">
          <p15:clr>
            <a:srgbClr val="A4A3A4"/>
          </p15:clr>
        </p15:guide>
        <p15:guide id="8" pos="234" userDrawn="1">
          <p15:clr>
            <a:srgbClr val="A4A3A4"/>
          </p15:clr>
        </p15:guide>
        <p15:guide id="9" pos="533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79" autoAdjust="0"/>
    <p:restoredTop sz="94660"/>
  </p:normalViewPr>
  <p:slideViewPr>
    <p:cSldViewPr snapToGrid="0">
      <p:cViewPr varScale="1">
        <p:scale>
          <a:sx n="82" d="100"/>
          <a:sy n="82" d="100"/>
        </p:scale>
        <p:origin x="816" y="58"/>
      </p:cViewPr>
      <p:guideLst>
        <p:guide orient="horz" pos="2137"/>
        <p:guide pos="7582"/>
        <p:guide orient="horz" pos="482"/>
        <p:guide pos="75"/>
        <p:guide pos="3046"/>
        <p:guide pos="234"/>
        <p:guide pos="533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유세희(Sammy)" userId="c309e5cc-64ff-444f-8b61-2a552b0828c7" providerId="ADAL" clId="{5149190C-0C92-43A4-AF66-AC7672C0C3EA}"/>
    <pc:docChg chg="undo custSel delSld modSld delSection modSection">
      <pc:chgData name="유세희(Sammy)" userId="c309e5cc-64ff-444f-8b61-2a552b0828c7" providerId="ADAL" clId="{5149190C-0C92-43A4-AF66-AC7672C0C3EA}" dt="2022-11-07T07:40:09.978" v="266" actId="14100"/>
      <pc:docMkLst>
        <pc:docMk/>
      </pc:docMkLst>
      <pc:sldChg chg="delSp mod">
        <pc:chgData name="유세희(Sammy)" userId="c309e5cc-64ff-444f-8b61-2a552b0828c7" providerId="ADAL" clId="{5149190C-0C92-43A4-AF66-AC7672C0C3EA}" dt="2022-11-07T05:50:40.050" v="0" actId="478"/>
        <pc:sldMkLst>
          <pc:docMk/>
          <pc:sldMk cId="2633088925" sldId="258"/>
        </pc:sldMkLst>
        <pc:spChg chg="del">
          <ac:chgData name="유세희(Sammy)" userId="c309e5cc-64ff-444f-8b61-2a552b0828c7" providerId="ADAL" clId="{5149190C-0C92-43A4-AF66-AC7672C0C3EA}" dt="2022-11-07T05:50:40.050" v="0" actId="478"/>
          <ac:spMkLst>
            <pc:docMk/>
            <pc:sldMk cId="2633088925" sldId="258"/>
            <ac:spMk id="36" creationId="{80895348-ED93-A343-56E3-FE79A8A8CAE3}"/>
          </ac:spMkLst>
        </pc:spChg>
        <pc:spChg chg="del">
          <ac:chgData name="유세희(Sammy)" userId="c309e5cc-64ff-444f-8b61-2a552b0828c7" providerId="ADAL" clId="{5149190C-0C92-43A4-AF66-AC7672C0C3EA}" dt="2022-11-07T05:50:40.050" v="0" actId="478"/>
          <ac:spMkLst>
            <pc:docMk/>
            <pc:sldMk cId="2633088925" sldId="258"/>
            <ac:spMk id="39" creationId="{625A8E03-BF3F-1AAA-BCD2-D21C1C1495C7}"/>
          </ac:spMkLst>
        </pc:spChg>
      </pc:sldChg>
      <pc:sldChg chg="addSp delSp modSp mod">
        <pc:chgData name="유세희(Sammy)" userId="c309e5cc-64ff-444f-8b61-2a552b0828c7" providerId="ADAL" clId="{5149190C-0C92-43A4-AF66-AC7672C0C3EA}" dt="2022-11-07T07:40:09.978" v="266" actId="14100"/>
        <pc:sldMkLst>
          <pc:docMk/>
          <pc:sldMk cId="37789811" sldId="259"/>
        </pc:sldMkLst>
        <pc:spChg chg="add mod">
          <ac:chgData name="유세희(Sammy)" userId="c309e5cc-64ff-444f-8b61-2a552b0828c7" providerId="ADAL" clId="{5149190C-0C92-43A4-AF66-AC7672C0C3EA}" dt="2022-11-07T07:40:09.978" v="266" actId="14100"/>
          <ac:spMkLst>
            <pc:docMk/>
            <pc:sldMk cId="37789811" sldId="259"/>
            <ac:spMk id="4" creationId="{00134EAA-DB8A-85E9-F9C7-6109B5BBF5B8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20" creationId="{E6EEDCC7-326C-D0CE-6848-C41BC54AA473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31" creationId="{0524E759-DED0-9CB0-5234-660395E2CAEF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32" creationId="{9B9C68A7-2E91-EF77-3741-FB56A0082610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35" creationId="{5A402A03-F49A-C966-2637-B9DC5A9685BC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36" creationId="{B08B5FCC-714B-04D0-60FD-A997473C9CDA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37" creationId="{0099CAA3-83CF-98F3-3BA0-3C83E8CC1333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38" creationId="{0696557C-EF41-5B16-C100-561FBBD12FEC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41" creationId="{B22C393E-62C6-D9BF-39E5-4464555965CB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47" creationId="{59CDAA8C-3A01-8FC3-DE44-BDFFC766FCD7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48" creationId="{E41C4A81-8453-9FFB-F6EB-40E41573C15E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49" creationId="{9CB21417-AA54-2DC6-D7A7-D5A12E3065CD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62" creationId="{7A454CB0-D6E7-D54A-6EB8-6FFD598DA8A2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72" creationId="{934EAFAB-C98B-334E-31E1-F20F6EEA59DD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73" creationId="{940E9624-546B-7FB9-8237-C10CB38DB90E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74" creationId="{86A64EC1-0EA1-0854-98D5-1B6553964541}"/>
          </ac:spMkLst>
        </pc:spChg>
        <pc:spChg chg="del">
          <ac:chgData name="유세희(Sammy)" userId="c309e5cc-64ff-444f-8b61-2a552b0828c7" providerId="ADAL" clId="{5149190C-0C92-43A4-AF66-AC7672C0C3EA}" dt="2022-11-07T05:50:49.648" v="1" actId="478"/>
          <ac:spMkLst>
            <pc:docMk/>
            <pc:sldMk cId="37789811" sldId="259"/>
            <ac:spMk id="75" creationId="{A5F3CE15-B2B0-513A-8DF2-5452120B83E8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77" creationId="{7039EE3C-A0FC-F313-32D8-91570D4B1E62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78" creationId="{A3762AF7-0480-C216-97FE-8FADA460D208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79" creationId="{964793C2-E21E-CC0B-1B81-B55759076586}"/>
          </ac:spMkLst>
        </pc:spChg>
        <pc:spChg chg="mod">
          <ac:chgData name="유세희(Sammy)" userId="c309e5cc-64ff-444f-8b61-2a552b0828c7" providerId="ADAL" clId="{5149190C-0C92-43A4-AF66-AC7672C0C3EA}" dt="2022-11-07T05:50:53.190" v="2" actId="1076"/>
          <ac:spMkLst>
            <pc:docMk/>
            <pc:sldMk cId="37789811" sldId="259"/>
            <ac:spMk id="80" creationId="{3DB3F99A-38CC-CF28-C936-76DB07155299}"/>
          </ac:spMkLst>
        </pc:spChg>
        <pc:picChg chg="del">
          <ac:chgData name="유세희(Sammy)" userId="c309e5cc-64ff-444f-8b61-2a552b0828c7" providerId="ADAL" clId="{5149190C-0C92-43A4-AF66-AC7672C0C3EA}" dt="2022-11-07T05:50:49.648" v="1" actId="478"/>
          <ac:picMkLst>
            <pc:docMk/>
            <pc:sldMk cId="37789811" sldId="259"/>
            <ac:picMk id="33" creationId="{2FE546FC-158F-9BEA-A8D4-DCF2BE062D60}"/>
          </ac:picMkLst>
        </pc:picChg>
        <pc:picChg chg="del">
          <ac:chgData name="유세희(Sammy)" userId="c309e5cc-64ff-444f-8b61-2a552b0828c7" providerId="ADAL" clId="{5149190C-0C92-43A4-AF66-AC7672C0C3EA}" dt="2022-11-07T05:50:49.648" v="1" actId="478"/>
          <ac:picMkLst>
            <pc:docMk/>
            <pc:sldMk cId="37789811" sldId="259"/>
            <ac:picMk id="34" creationId="{C1E7349C-2841-74DD-2C12-1D1AED5F780C}"/>
          </ac:picMkLst>
        </pc:picChg>
        <pc:picChg chg="mod">
          <ac:chgData name="유세희(Sammy)" userId="c309e5cc-64ff-444f-8b61-2a552b0828c7" providerId="ADAL" clId="{5149190C-0C92-43A4-AF66-AC7672C0C3EA}" dt="2022-11-07T05:50:53.190" v="2" actId="1076"/>
          <ac:picMkLst>
            <pc:docMk/>
            <pc:sldMk cId="37789811" sldId="259"/>
            <ac:picMk id="70" creationId="{B61FDB59-248B-9772-F7AC-74599A466121}"/>
          </ac:picMkLst>
        </pc:picChg>
      </pc:sldChg>
      <pc:sldChg chg="addSp delSp modSp mod">
        <pc:chgData name="유세희(Sammy)" userId="c309e5cc-64ff-444f-8b61-2a552b0828c7" providerId="ADAL" clId="{5149190C-0C92-43A4-AF66-AC7672C0C3EA}" dt="2022-11-07T07:39:57.757" v="263" actId="1035"/>
        <pc:sldMkLst>
          <pc:docMk/>
          <pc:sldMk cId="2394621406" sldId="260"/>
        </pc:sldMkLst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4" creationId="{D3DEB2B9-0D00-8E8E-5003-E70E950D5E37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" creationId="{BF6B8B4D-651F-A386-C461-5B5B53707538}"/>
          </ac:spMkLst>
        </pc:spChg>
        <pc:spChg chg="del">
          <ac:chgData name="유세희(Sammy)" userId="c309e5cc-64ff-444f-8b61-2a552b0828c7" providerId="ADAL" clId="{5149190C-0C92-43A4-AF66-AC7672C0C3EA}" dt="2022-11-07T05:51:04.973" v="7" actId="478"/>
          <ac:spMkLst>
            <pc:docMk/>
            <pc:sldMk cId="2394621406" sldId="260"/>
            <ac:spMk id="6" creationId="{998D159D-8C38-956D-A056-6D4FFA04F633}"/>
          </ac:spMkLst>
        </pc:spChg>
        <pc:spChg chg="mod">
          <ac:chgData name="유세희(Sammy)" userId="c309e5cc-64ff-444f-8b61-2a552b0828c7" providerId="ADAL" clId="{5149190C-0C92-43A4-AF66-AC7672C0C3EA}" dt="2022-11-07T07:39:50.539" v="258" actId="1076"/>
          <ac:spMkLst>
            <pc:docMk/>
            <pc:sldMk cId="2394621406" sldId="260"/>
            <ac:spMk id="8" creationId="{3A18241C-EEC6-938D-D329-5AEBA2FF3FB0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10" creationId="{C9619C6F-8E41-313C-4718-C50601B34DAE}"/>
          </ac:spMkLst>
        </pc:spChg>
        <pc:spChg chg="add mod">
          <ac:chgData name="유세희(Sammy)" userId="c309e5cc-64ff-444f-8b61-2a552b0828c7" providerId="ADAL" clId="{5149190C-0C92-43A4-AF66-AC7672C0C3EA}" dt="2022-11-07T07:39:54.740" v="260" actId="14100"/>
          <ac:spMkLst>
            <pc:docMk/>
            <pc:sldMk cId="2394621406" sldId="260"/>
            <ac:spMk id="11" creationId="{BD3FE5C9-8003-C1FE-EF57-C62F307B572B}"/>
          </ac:spMkLst>
        </pc:spChg>
        <pc:spChg chg="add mod">
          <ac:chgData name="유세희(Sammy)" userId="c309e5cc-64ff-444f-8b61-2a552b0828c7" providerId="ADAL" clId="{5149190C-0C92-43A4-AF66-AC7672C0C3EA}" dt="2022-11-07T07:39:57.757" v="263" actId="1035"/>
          <ac:spMkLst>
            <pc:docMk/>
            <pc:sldMk cId="2394621406" sldId="260"/>
            <ac:spMk id="12" creationId="{59CD24AC-5315-4F93-4089-43BCB6389968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14" creationId="{72EC2DE1-4CB6-EF12-12F4-211456E5480C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15" creationId="{EB52AE17-60B2-2CAE-E45B-EA80734FDF77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18" creationId="{14389F21-F581-CC6D-476A-1C69AE4260AF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19" creationId="{ACEA9D65-BD2F-97A8-01B2-7D100ACF3833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20" creationId="{49A96746-82B5-79C6-24DA-B90B604DF70E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21" creationId="{01A5297B-6506-8C6C-2582-6FB003B6C459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26" creationId="{8D5FE577-6849-3B90-2E20-57D7E397433B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30" creationId="{A0DEF2AD-E084-F260-0BFB-56A65514E764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31" creationId="{467CE44B-6BFD-A5E8-F3AE-B9828E69781B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32" creationId="{61952FD1-1386-149C-E275-38576F0299E8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33" creationId="{11D5D20B-8DE9-B85A-4889-17490D06555E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38" creationId="{50A0CA3D-79E1-12DE-063A-C9B87FD082A7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39" creationId="{953CD44C-CFA4-14E6-46F3-850FD3A4336B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40" creationId="{79C52F4B-2443-1CD7-2867-49B9235EB6F7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41" creationId="{C7434386-F5FF-F984-EF7B-6A7FA4954496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42" creationId="{96A01713-AD3B-42FF-2B37-0F2868A72BFE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43" creationId="{7558F087-AD03-02FD-28CB-74261E5B159E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0" creationId="{942BA4EE-1EF9-AFD6-7AA1-2810E826EE11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1" creationId="{C2DDD8E7-4091-78A9-18D8-E35B955B840F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2" creationId="{15C5E8F1-1F1C-D336-63B9-53231975CD4A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3" creationId="{B18A0BA0-6565-0122-01AE-463BF8309E07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4" creationId="{7CEA9D0C-A6A5-1757-F8F9-028C98627AF3}"/>
          </ac:spMkLst>
        </pc:spChg>
        <pc:spChg chg="del">
          <ac:chgData name="유세희(Sammy)" userId="c309e5cc-64ff-444f-8b61-2a552b0828c7" providerId="ADAL" clId="{5149190C-0C92-43A4-AF66-AC7672C0C3EA}" dt="2022-11-07T05:50:59.490" v="3" actId="478"/>
          <ac:spMkLst>
            <pc:docMk/>
            <pc:sldMk cId="2394621406" sldId="260"/>
            <ac:spMk id="55" creationId="{B8F8D14F-40F4-44AF-6090-31CDF5D6ED01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56" creationId="{BB0D259B-43DA-ECB8-B749-20BC1B1C48D6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57" creationId="{7EB92C65-7FB1-BE07-674D-3291E6B6AF2A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60" creationId="{71EB83B0-5F87-42C6-7E2B-56B8B9DCEBDE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61" creationId="{AB95CAE6-6AC1-7931-7D37-DCCDD643B282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62" creationId="{BDDF976D-88B7-E0DA-0928-714630A6ACAB}"/>
          </ac:spMkLst>
        </pc:spChg>
        <pc:spChg chg="mod">
          <ac:chgData name="유세희(Sammy)" userId="c309e5cc-64ff-444f-8b61-2a552b0828c7" providerId="ADAL" clId="{5149190C-0C92-43A4-AF66-AC7672C0C3EA}" dt="2022-11-07T05:51:11.294" v="8" actId="1076"/>
          <ac:spMkLst>
            <pc:docMk/>
            <pc:sldMk cId="2394621406" sldId="260"/>
            <ac:spMk id="63" creationId="{832BE133-53E9-D1C3-6250-CC504F300828}"/>
          </ac:spMkLst>
        </pc:spChg>
        <pc:picChg chg="del">
          <ac:chgData name="유세희(Sammy)" userId="c309e5cc-64ff-444f-8b61-2a552b0828c7" providerId="ADAL" clId="{5149190C-0C92-43A4-AF66-AC7672C0C3EA}" dt="2022-11-07T05:50:59.490" v="3" actId="478"/>
          <ac:picMkLst>
            <pc:docMk/>
            <pc:sldMk cId="2394621406" sldId="260"/>
            <ac:picMk id="7" creationId="{2891760B-A97C-CD0E-9D61-840839FDDBD9}"/>
          </ac:picMkLst>
        </pc:picChg>
        <pc:picChg chg="del">
          <ac:chgData name="유세희(Sammy)" userId="c309e5cc-64ff-444f-8b61-2a552b0828c7" providerId="ADAL" clId="{5149190C-0C92-43A4-AF66-AC7672C0C3EA}" dt="2022-11-07T05:50:59.490" v="3" actId="478"/>
          <ac:picMkLst>
            <pc:docMk/>
            <pc:sldMk cId="2394621406" sldId="260"/>
            <ac:picMk id="9" creationId="{0D51847B-3865-F0E1-DD39-9CAA676E6FB3}"/>
          </ac:picMkLst>
        </pc:picChg>
        <pc:picChg chg="mod">
          <ac:chgData name="유세희(Sammy)" userId="c309e5cc-64ff-444f-8b61-2a552b0828c7" providerId="ADAL" clId="{5149190C-0C92-43A4-AF66-AC7672C0C3EA}" dt="2022-11-07T05:51:11.294" v="8" actId="1076"/>
          <ac:picMkLst>
            <pc:docMk/>
            <pc:sldMk cId="2394621406" sldId="260"/>
            <ac:picMk id="25" creationId="{67F9262E-FEF7-B283-A319-90F60B88E4F5}"/>
          </ac:picMkLst>
        </pc:picChg>
      </pc:sldChg>
      <pc:sldChg chg="addSp delSp modSp mod">
        <pc:chgData name="유세희(Sammy)" userId="c309e5cc-64ff-444f-8b61-2a552b0828c7" providerId="ADAL" clId="{5149190C-0C92-43A4-AF66-AC7672C0C3EA}" dt="2022-11-07T07:39:43.257" v="255" actId="1076"/>
        <pc:sldMkLst>
          <pc:docMk/>
          <pc:sldMk cId="363513140" sldId="306"/>
        </pc:sldMkLst>
        <pc:spChg chg="del">
          <ac:chgData name="유세희(Sammy)" userId="c309e5cc-64ff-444f-8b61-2a552b0828c7" providerId="ADAL" clId="{5149190C-0C92-43A4-AF66-AC7672C0C3EA}" dt="2022-11-07T05:51:15.737" v="9" actId="478"/>
          <ac:spMkLst>
            <pc:docMk/>
            <pc:sldMk cId="363513140" sldId="306"/>
            <ac:spMk id="4" creationId="{DF775253-E167-9C14-AF00-559BCB01DF5A}"/>
          </ac:spMkLst>
        </pc:spChg>
        <pc:spChg chg="del">
          <ac:chgData name="유세희(Sammy)" userId="c309e5cc-64ff-444f-8b61-2a552b0828c7" providerId="ADAL" clId="{5149190C-0C92-43A4-AF66-AC7672C0C3EA}" dt="2022-11-07T05:51:15.737" v="9" actId="478"/>
          <ac:spMkLst>
            <pc:docMk/>
            <pc:sldMk cId="363513140" sldId="306"/>
            <ac:spMk id="5" creationId="{BC57C4E9-A341-4CC8-3240-E2FA9BBA51A1}"/>
          </ac:spMkLst>
        </pc:spChg>
        <pc:spChg chg="del">
          <ac:chgData name="유세희(Sammy)" userId="c309e5cc-64ff-444f-8b61-2a552b0828c7" providerId="ADAL" clId="{5149190C-0C92-43A4-AF66-AC7672C0C3EA}" dt="2022-11-07T05:51:15.737" v="9" actId="478"/>
          <ac:spMkLst>
            <pc:docMk/>
            <pc:sldMk cId="363513140" sldId="306"/>
            <ac:spMk id="6" creationId="{E7FB76DE-186C-32CD-A4C0-5EB6017E832B}"/>
          </ac:spMkLst>
        </pc:spChg>
        <pc:spChg chg="add mod">
          <ac:chgData name="유세희(Sammy)" userId="c309e5cc-64ff-444f-8b61-2a552b0828c7" providerId="ADAL" clId="{5149190C-0C92-43A4-AF66-AC7672C0C3EA}" dt="2022-11-07T07:39:43.257" v="255" actId="1076"/>
          <ac:spMkLst>
            <pc:docMk/>
            <pc:sldMk cId="363513140" sldId="306"/>
            <ac:spMk id="7" creationId="{52EACF5F-8C74-8046-8DEA-DC3DA0B20853}"/>
          </ac:spMkLst>
        </pc:spChg>
        <pc:spChg chg="mod">
          <ac:chgData name="유세희(Sammy)" userId="c309e5cc-64ff-444f-8b61-2a552b0828c7" providerId="ADAL" clId="{5149190C-0C92-43A4-AF66-AC7672C0C3EA}" dt="2022-11-07T05:51:32.795" v="33" actId="1076"/>
          <ac:spMkLst>
            <pc:docMk/>
            <pc:sldMk cId="363513140" sldId="306"/>
            <ac:spMk id="12" creationId="{FAA5CB7B-F981-3A3C-691A-346814003A33}"/>
          </ac:spMkLst>
        </pc:spChg>
        <pc:spChg chg="mod">
          <ac:chgData name="유세희(Sammy)" userId="c309e5cc-64ff-444f-8b61-2a552b0828c7" providerId="ADAL" clId="{5149190C-0C92-43A4-AF66-AC7672C0C3EA}" dt="2022-11-07T05:51:32.795" v="33" actId="1076"/>
          <ac:spMkLst>
            <pc:docMk/>
            <pc:sldMk cId="363513140" sldId="306"/>
            <ac:spMk id="20" creationId="{3E977856-0955-67A3-C84A-77614ED80749}"/>
          </ac:spMkLst>
        </pc:spChg>
        <pc:spChg chg="del">
          <ac:chgData name="유세희(Sammy)" userId="c309e5cc-64ff-444f-8b61-2a552b0828c7" providerId="ADAL" clId="{5149190C-0C92-43A4-AF66-AC7672C0C3EA}" dt="2022-11-07T05:51:17.632" v="10" actId="478"/>
          <ac:spMkLst>
            <pc:docMk/>
            <pc:sldMk cId="363513140" sldId="306"/>
            <ac:spMk id="21" creationId="{B58A3B87-B8F8-D49C-8241-24080A519C9A}"/>
          </ac:spMkLst>
        </pc:spChg>
        <pc:spChg chg="del">
          <ac:chgData name="유세희(Sammy)" userId="c309e5cc-64ff-444f-8b61-2a552b0828c7" providerId="ADAL" clId="{5149190C-0C92-43A4-AF66-AC7672C0C3EA}" dt="2022-11-07T05:51:17.632" v="10" actId="478"/>
          <ac:spMkLst>
            <pc:docMk/>
            <pc:sldMk cId="363513140" sldId="306"/>
            <ac:spMk id="22" creationId="{C12C2599-11E3-C35B-D8DA-517FFFA3C7BA}"/>
          </ac:spMkLst>
        </pc:spChg>
        <pc:spChg chg="del">
          <ac:chgData name="유세희(Sammy)" userId="c309e5cc-64ff-444f-8b61-2a552b0828c7" providerId="ADAL" clId="{5149190C-0C92-43A4-AF66-AC7672C0C3EA}" dt="2022-11-07T05:51:17.632" v="10" actId="478"/>
          <ac:spMkLst>
            <pc:docMk/>
            <pc:sldMk cId="363513140" sldId="306"/>
            <ac:spMk id="23" creationId="{3272511F-FB5F-96A9-C6F8-D5E4BF8C4D1A}"/>
          </ac:spMkLst>
        </pc:spChg>
        <pc:spChg chg="del">
          <ac:chgData name="유세희(Sammy)" userId="c309e5cc-64ff-444f-8b61-2a552b0828c7" providerId="ADAL" clId="{5149190C-0C92-43A4-AF66-AC7672C0C3EA}" dt="2022-11-07T05:51:17.632" v="10" actId="478"/>
          <ac:spMkLst>
            <pc:docMk/>
            <pc:sldMk cId="363513140" sldId="306"/>
            <ac:spMk id="24" creationId="{7001E524-3196-84F7-F1B8-D24E6BEDF95B}"/>
          </ac:spMkLst>
        </pc:spChg>
        <pc:picChg chg="del">
          <ac:chgData name="유세희(Sammy)" userId="c309e5cc-64ff-444f-8b61-2a552b0828c7" providerId="ADAL" clId="{5149190C-0C92-43A4-AF66-AC7672C0C3EA}" dt="2022-11-07T05:51:15.737" v="9" actId="478"/>
          <ac:picMkLst>
            <pc:docMk/>
            <pc:sldMk cId="363513140" sldId="306"/>
            <ac:picMk id="14" creationId="{CA560DF0-CCE7-84AB-DB2B-F99F514CAA9B}"/>
          </ac:picMkLst>
        </pc:picChg>
        <pc:picChg chg="del">
          <ac:chgData name="유세희(Sammy)" userId="c309e5cc-64ff-444f-8b61-2a552b0828c7" providerId="ADAL" clId="{5149190C-0C92-43A4-AF66-AC7672C0C3EA}" dt="2022-11-07T05:51:15.737" v="9" actId="478"/>
          <ac:picMkLst>
            <pc:docMk/>
            <pc:sldMk cId="363513140" sldId="306"/>
            <ac:picMk id="16" creationId="{AD2AF7F7-360A-7E4A-D827-430F9582A315}"/>
          </ac:picMkLst>
        </pc:picChg>
        <pc:picChg chg="mod">
          <ac:chgData name="유세희(Sammy)" userId="c309e5cc-64ff-444f-8b61-2a552b0828c7" providerId="ADAL" clId="{5149190C-0C92-43A4-AF66-AC7672C0C3EA}" dt="2022-11-07T05:51:32.795" v="33" actId="1076"/>
          <ac:picMkLst>
            <pc:docMk/>
            <pc:sldMk cId="363513140" sldId="306"/>
            <ac:picMk id="25" creationId="{073A6ACD-FB8D-F5F9-90D3-1F21609DC82E}"/>
          </ac:picMkLst>
        </pc:picChg>
      </pc:sldChg>
      <pc:sldChg chg="addSp delSp modSp mod">
        <pc:chgData name="유세희(Sammy)" userId="c309e5cc-64ff-444f-8b61-2a552b0828c7" providerId="ADAL" clId="{5149190C-0C92-43A4-AF66-AC7672C0C3EA}" dt="2022-11-07T07:39:38.816" v="253" actId="14100"/>
        <pc:sldMkLst>
          <pc:docMk/>
          <pc:sldMk cId="3519501198" sldId="307"/>
        </pc:sldMkLst>
        <pc:spChg chg="del">
          <ac:chgData name="유세희(Sammy)" userId="c309e5cc-64ff-444f-8b61-2a552b0828c7" providerId="ADAL" clId="{5149190C-0C92-43A4-AF66-AC7672C0C3EA}" dt="2022-11-07T05:51:59.762" v="46" actId="478"/>
          <ac:spMkLst>
            <pc:docMk/>
            <pc:sldMk cId="3519501198" sldId="307"/>
            <ac:spMk id="4" creationId="{DF775253-E167-9C14-AF00-559BCB01DF5A}"/>
          </ac:spMkLst>
        </pc:spChg>
        <pc:spChg chg="del">
          <ac:chgData name="유세희(Sammy)" userId="c309e5cc-64ff-444f-8b61-2a552b0828c7" providerId="ADAL" clId="{5149190C-0C92-43A4-AF66-AC7672C0C3EA}" dt="2022-11-07T05:51:59.762" v="46" actId="478"/>
          <ac:spMkLst>
            <pc:docMk/>
            <pc:sldMk cId="3519501198" sldId="307"/>
            <ac:spMk id="5" creationId="{BC57C4E9-A341-4CC8-3240-E2FA9BBA51A1}"/>
          </ac:spMkLst>
        </pc:spChg>
        <pc:spChg chg="mod">
          <ac:chgData name="유세희(Sammy)" userId="c309e5cc-64ff-444f-8b61-2a552b0828c7" providerId="ADAL" clId="{5149190C-0C92-43A4-AF66-AC7672C0C3EA}" dt="2022-11-07T05:52:09.852" v="52" actId="1035"/>
          <ac:spMkLst>
            <pc:docMk/>
            <pc:sldMk cId="3519501198" sldId="307"/>
            <ac:spMk id="6" creationId="{3B70AD56-7343-51EC-C385-1D623DDD05A1}"/>
          </ac:spMkLst>
        </pc:spChg>
        <pc:spChg chg="add mod">
          <ac:chgData name="유세희(Sammy)" userId="c309e5cc-64ff-444f-8b61-2a552b0828c7" providerId="ADAL" clId="{5149190C-0C92-43A4-AF66-AC7672C0C3EA}" dt="2022-11-07T05:51:56.245" v="45"/>
          <ac:spMkLst>
            <pc:docMk/>
            <pc:sldMk cId="3519501198" sldId="307"/>
            <ac:spMk id="8" creationId="{FE607872-A0CF-825F-3F3B-1CEA481F4EE5}"/>
          </ac:spMkLst>
        </pc:spChg>
        <pc:spChg chg="add del mod">
          <ac:chgData name="유세희(Sammy)" userId="c309e5cc-64ff-444f-8b61-2a552b0828c7" providerId="ADAL" clId="{5149190C-0C92-43A4-AF66-AC7672C0C3EA}" dt="2022-11-07T07:39:31.619" v="250"/>
          <ac:spMkLst>
            <pc:docMk/>
            <pc:sldMk cId="3519501198" sldId="307"/>
            <ac:spMk id="10" creationId="{8B90703D-B1DB-0939-A29A-9570E16D00AA}"/>
          </ac:spMkLst>
        </pc:spChg>
        <pc:spChg chg="add mod">
          <ac:chgData name="유세희(Sammy)" userId="c309e5cc-64ff-444f-8b61-2a552b0828c7" providerId="ADAL" clId="{5149190C-0C92-43A4-AF66-AC7672C0C3EA}" dt="2022-11-07T07:39:38.816" v="253" actId="14100"/>
          <ac:spMkLst>
            <pc:docMk/>
            <pc:sldMk cId="3519501198" sldId="307"/>
            <ac:spMk id="11" creationId="{B166E01B-4BC7-E1FA-7C3B-946A42D2D212}"/>
          </ac:spMkLst>
        </pc:spChg>
        <pc:spChg chg="mod">
          <ac:chgData name="유세희(Sammy)" userId="c309e5cc-64ff-444f-8b61-2a552b0828c7" providerId="ADAL" clId="{5149190C-0C92-43A4-AF66-AC7672C0C3EA}" dt="2022-11-07T05:52:03.315" v="47" actId="1076"/>
          <ac:spMkLst>
            <pc:docMk/>
            <pc:sldMk cId="3519501198" sldId="307"/>
            <ac:spMk id="30" creationId="{85C2001B-CA65-4B88-C5C4-5734766BE5DC}"/>
          </ac:spMkLst>
        </pc:spChg>
        <pc:spChg chg="del">
          <ac:chgData name="유세희(Sammy)" userId="c309e5cc-64ff-444f-8b61-2a552b0828c7" providerId="ADAL" clId="{5149190C-0C92-43A4-AF66-AC7672C0C3EA}" dt="2022-11-07T05:51:59.762" v="46" actId="478"/>
          <ac:spMkLst>
            <pc:docMk/>
            <pc:sldMk cId="3519501198" sldId="307"/>
            <ac:spMk id="38" creationId="{B832E120-7C6F-9158-A3A7-982E5277E0CC}"/>
          </ac:spMkLst>
        </pc:spChg>
        <pc:spChg chg="del">
          <ac:chgData name="유세희(Sammy)" userId="c309e5cc-64ff-444f-8b61-2a552b0828c7" providerId="ADAL" clId="{5149190C-0C92-43A4-AF66-AC7672C0C3EA}" dt="2022-11-07T05:51:59.762" v="46" actId="478"/>
          <ac:spMkLst>
            <pc:docMk/>
            <pc:sldMk cId="3519501198" sldId="307"/>
            <ac:spMk id="44" creationId="{2DBCB1CE-26DB-462B-43B4-23CB1386EF1F}"/>
          </ac:spMkLst>
        </pc:spChg>
        <pc:spChg chg="del">
          <ac:chgData name="유세희(Sammy)" userId="c309e5cc-64ff-444f-8b61-2a552b0828c7" providerId="ADAL" clId="{5149190C-0C92-43A4-AF66-AC7672C0C3EA}" dt="2022-11-07T05:51:47.740" v="44" actId="478"/>
          <ac:spMkLst>
            <pc:docMk/>
            <pc:sldMk cId="3519501198" sldId="307"/>
            <ac:spMk id="48" creationId="{98AD7EB7-0E08-8BED-069E-C809F5019877}"/>
          </ac:spMkLst>
        </pc:spChg>
        <pc:spChg chg="mod">
          <ac:chgData name="유세희(Sammy)" userId="c309e5cc-64ff-444f-8b61-2a552b0828c7" providerId="ADAL" clId="{5149190C-0C92-43A4-AF66-AC7672C0C3EA}" dt="2022-11-07T05:52:03.315" v="47" actId="1076"/>
          <ac:spMkLst>
            <pc:docMk/>
            <pc:sldMk cId="3519501198" sldId="307"/>
            <ac:spMk id="51" creationId="{8D032873-FAE2-BE68-26E0-C6E0AF4BDF41}"/>
          </ac:spMkLst>
        </pc:spChg>
        <pc:spChg chg="del">
          <ac:chgData name="유세희(Sammy)" userId="c309e5cc-64ff-444f-8b61-2a552b0828c7" providerId="ADAL" clId="{5149190C-0C92-43A4-AF66-AC7672C0C3EA}" dt="2022-11-07T05:51:59.762" v="46" actId="478"/>
          <ac:spMkLst>
            <pc:docMk/>
            <pc:sldMk cId="3519501198" sldId="307"/>
            <ac:spMk id="60" creationId="{D22090A9-6FA4-555A-91E1-FA2E1D8A7BE7}"/>
          </ac:spMkLst>
        </pc:spChg>
        <pc:spChg chg="del">
          <ac:chgData name="유세희(Sammy)" userId="c309e5cc-64ff-444f-8b61-2a552b0828c7" providerId="ADAL" clId="{5149190C-0C92-43A4-AF66-AC7672C0C3EA}" dt="2022-11-07T05:51:59.762" v="46" actId="478"/>
          <ac:spMkLst>
            <pc:docMk/>
            <pc:sldMk cId="3519501198" sldId="307"/>
            <ac:spMk id="61" creationId="{14B8F836-50E4-56BF-D3AC-1770D54A4BD1}"/>
          </ac:spMkLst>
        </pc:spChg>
        <pc:spChg chg="del mod">
          <ac:chgData name="유세희(Sammy)" userId="c309e5cc-64ff-444f-8b61-2a552b0828c7" providerId="ADAL" clId="{5149190C-0C92-43A4-AF66-AC7672C0C3EA}" dt="2022-11-07T05:52:06.341" v="48" actId="478"/>
          <ac:spMkLst>
            <pc:docMk/>
            <pc:sldMk cId="3519501198" sldId="307"/>
            <ac:spMk id="62" creationId="{507AA49E-5D9F-3CF5-1DB1-00D72966E80C}"/>
          </ac:spMkLst>
        </pc:spChg>
        <pc:spChg chg="del mod">
          <ac:chgData name="유세희(Sammy)" userId="c309e5cc-64ff-444f-8b61-2a552b0828c7" providerId="ADAL" clId="{5149190C-0C92-43A4-AF66-AC7672C0C3EA}" dt="2022-11-07T05:52:07.886" v="49" actId="478"/>
          <ac:spMkLst>
            <pc:docMk/>
            <pc:sldMk cId="3519501198" sldId="307"/>
            <ac:spMk id="63" creationId="{F49105BE-DFF9-0A20-A81E-D8D4D825CF9E}"/>
          </ac:spMkLst>
        </pc:spChg>
        <pc:spChg chg="del">
          <ac:chgData name="유세희(Sammy)" userId="c309e5cc-64ff-444f-8b61-2a552b0828c7" providerId="ADAL" clId="{5149190C-0C92-43A4-AF66-AC7672C0C3EA}" dt="2022-11-07T05:51:43.133" v="42" actId="478"/>
          <ac:spMkLst>
            <pc:docMk/>
            <pc:sldMk cId="3519501198" sldId="307"/>
            <ac:spMk id="64" creationId="{8E938A34-1BC8-6581-C5DD-27E8E7586E1A}"/>
          </ac:spMkLst>
        </pc:spChg>
        <pc:picChg chg="del">
          <ac:chgData name="유세희(Sammy)" userId="c309e5cc-64ff-444f-8b61-2a552b0828c7" providerId="ADAL" clId="{5149190C-0C92-43A4-AF66-AC7672C0C3EA}" dt="2022-11-07T05:51:59.762" v="46" actId="478"/>
          <ac:picMkLst>
            <pc:docMk/>
            <pc:sldMk cId="3519501198" sldId="307"/>
            <ac:picMk id="7" creationId="{70307EE6-B7DA-9919-C76A-B8237FD2AD00}"/>
          </ac:picMkLst>
        </pc:picChg>
        <pc:picChg chg="del">
          <ac:chgData name="유세희(Sammy)" userId="c309e5cc-64ff-444f-8b61-2a552b0828c7" providerId="ADAL" clId="{5149190C-0C92-43A4-AF66-AC7672C0C3EA}" dt="2022-11-07T05:51:59.762" v="46" actId="478"/>
          <ac:picMkLst>
            <pc:docMk/>
            <pc:sldMk cId="3519501198" sldId="307"/>
            <ac:picMk id="9" creationId="{99796397-FF4C-7256-137F-6790C356FD2D}"/>
          </ac:picMkLst>
        </pc:picChg>
        <pc:picChg chg="del">
          <ac:chgData name="유세희(Sammy)" userId="c309e5cc-64ff-444f-8b61-2a552b0828c7" providerId="ADAL" clId="{5149190C-0C92-43A4-AF66-AC7672C0C3EA}" dt="2022-11-07T05:51:59.762" v="46" actId="478"/>
          <ac:picMkLst>
            <pc:docMk/>
            <pc:sldMk cId="3519501198" sldId="307"/>
            <ac:picMk id="13" creationId="{B00FF627-4221-CEC9-794D-A04833869208}"/>
          </ac:picMkLst>
        </pc:picChg>
        <pc:picChg chg="del">
          <ac:chgData name="유세희(Sammy)" userId="c309e5cc-64ff-444f-8b61-2a552b0828c7" providerId="ADAL" clId="{5149190C-0C92-43A4-AF66-AC7672C0C3EA}" dt="2022-11-07T05:51:59.762" v="46" actId="478"/>
          <ac:picMkLst>
            <pc:docMk/>
            <pc:sldMk cId="3519501198" sldId="307"/>
            <ac:picMk id="14" creationId="{6EA8F70F-7FE4-1A9D-DF7C-7AA324F5D360}"/>
          </ac:picMkLst>
        </pc:picChg>
        <pc:picChg chg="del">
          <ac:chgData name="유세희(Sammy)" userId="c309e5cc-64ff-444f-8b61-2a552b0828c7" providerId="ADAL" clId="{5149190C-0C92-43A4-AF66-AC7672C0C3EA}" dt="2022-11-07T05:51:59.762" v="46" actId="478"/>
          <ac:picMkLst>
            <pc:docMk/>
            <pc:sldMk cId="3519501198" sldId="307"/>
            <ac:picMk id="17" creationId="{B623AF5E-8A14-4280-1436-B2F0E7AD5630}"/>
          </ac:picMkLst>
        </pc:picChg>
        <pc:picChg chg="mod">
          <ac:chgData name="유세희(Sammy)" userId="c309e5cc-64ff-444f-8b61-2a552b0828c7" providerId="ADAL" clId="{5149190C-0C92-43A4-AF66-AC7672C0C3EA}" dt="2022-11-07T05:52:03.315" v="47" actId="1076"/>
          <ac:picMkLst>
            <pc:docMk/>
            <pc:sldMk cId="3519501198" sldId="307"/>
            <ac:picMk id="59" creationId="{6B35B79D-FA22-2F6F-FA6C-BBF1704BB1F5}"/>
          </ac:picMkLst>
        </pc:picChg>
      </pc:sldChg>
      <pc:sldChg chg="addSp delSp modSp mod">
        <pc:chgData name="유세희(Sammy)" userId="c309e5cc-64ff-444f-8b61-2a552b0828c7" providerId="ADAL" clId="{5149190C-0C92-43A4-AF66-AC7672C0C3EA}" dt="2022-11-07T07:39:28.708" v="248" actId="1076"/>
        <pc:sldMkLst>
          <pc:docMk/>
          <pc:sldMk cId="2092215359" sldId="309"/>
        </pc:sldMkLst>
        <pc:spChg chg="del">
          <ac:chgData name="유세희(Sammy)" userId="c309e5cc-64ff-444f-8b61-2a552b0828c7" providerId="ADAL" clId="{5149190C-0C92-43A4-AF66-AC7672C0C3EA}" dt="2022-11-07T05:53:12.613" v="67" actId="478"/>
          <ac:spMkLst>
            <pc:docMk/>
            <pc:sldMk cId="2092215359" sldId="309"/>
            <ac:spMk id="4" creationId="{DF775253-E167-9C14-AF00-559BCB01DF5A}"/>
          </ac:spMkLst>
        </pc:spChg>
        <pc:spChg chg="add mod">
          <ac:chgData name="유세희(Sammy)" userId="c309e5cc-64ff-444f-8b61-2a552b0828c7" providerId="ADAL" clId="{5149190C-0C92-43A4-AF66-AC7672C0C3EA}" dt="2022-11-07T07:39:28.708" v="248" actId="1076"/>
          <ac:spMkLst>
            <pc:docMk/>
            <pc:sldMk cId="2092215359" sldId="309"/>
            <ac:spMk id="6" creationId="{7871241C-0A51-5237-EDCC-73C04F01E024}"/>
          </ac:spMkLst>
        </pc:spChg>
        <pc:spChg chg="del">
          <ac:chgData name="유세희(Sammy)" userId="c309e5cc-64ff-444f-8b61-2a552b0828c7" providerId="ADAL" clId="{5149190C-0C92-43A4-AF66-AC7672C0C3EA}" dt="2022-11-07T05:53:14.058" v="68" actId="478"/>
          <ac:spMkLst>
            <pc:docMk/>
            <pc:sldMk cId="2092215359" sldId="309"/>
            <ac:spMk id="7" creationId="{62F05F41-05EF-3E2C-03AD-3187FF5964A1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19" creationId="{33AF3CF0-7031-758D-D8F5-935EE0FC01FD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26" creationId="{1F0F269E-FC95-2EE6-E26C-9B4A2826D7F9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27" creationId="{57BE7927-0EC6-107D-EE86-0ED99AF01C08}"/>
          </ac:spMkLst>
        </pc:spChg>
        <pc:spChg chg="mod">
          <ac:chgData name="유세희(Sammy)" userId="c309e5cc-64ff-444f-8b61-2a552b0828c7" providerId="ADAL" clId="{5149190C-0C92-43A4-AF66-AC7672C0C3EA}" dt="2022-11-07T05:53:31.872" v="113" actId="20577"/>
          <ac:spMkLst>
            <pc:docMk/>
            <pc:sldMk cId="2092215359" sldId="309"/>
            <ac:spMk id="31" creationId="{6CDB8D2C-CEFD-A653-5D0F-EF4CD6591C86}"/>
          </ac:spMkLst>
        </pc:spChg>
        <pc:spChg chg="del">
          <ac:chgData name="유세희(Sammy)" userId="c309e5cc-64ff-444f-8b61-2a552b0828c7" providerId="ADAL" clId="{5149190C-0C92-43A4-AF66-AC7672C0C3EA}" dt="2022-11-07T05:53:12.613" v="67" actId="478"/>
          <ac:spMkLst>
            <pc:docMk/>
            <pc:sldMk cId="2092215359" sldId="309"/>
            <ac:spMk id="35" creationId="{6AE3B0B3-8849-9715-56D6-A131DBCDBB47}"/>
          </ac:spMkLst>
        </pc:spChg>
        <pc:spChg chg="del">
          <ac:chgData name="유세희(Sammy)" userId="c309e5cc-64ff-444f-8b61-2a552b0828c7" providerId="ADAL" clId="{5149190C-0C92-43A4-AF66-AC7672C0C3EA}" dt="2022-11-07T05:53:12.613" v="67" actId="478"/>
          <ac:spMkLst>
            <pc:docMk/>
            <pc:sldMk cId="2092215359" sldId="309"/>
            <ac:spMk id="36" creationId="{CEEA2D41-AAFE-BE26-13A6-CCD76E88D2CC}"/>
          </ac:spMkLst>
        </pc:spChg>
        <pc:spChg chg="del">
          <ac:chgData name="유세희(Sammy)" userId="c309e5cc-64ff-444f-8b61-2a552b0828c7" providerId="ADAL" clId="{5149190C-0C92-43A4-AF66-AC7672C0C3EA}" dt="2022-11-07T05:53:12.613" v="67" actId="478"/>
          <ac:spMkLst>
            <pc:docMk/>
            <pc:sldMk cId="2092215359" sldId="309"/>
            <ac:spMk id="37" creationId="{8F50626B-1619-F374-6026-22CEB86F6382}"/>
          </ac:spMkLst>
        </pc:spChg>
        <pc:spChg chg="del">
          <ac:chgData name="유세희(Sammy)" userId="c309e5cc-64ff-444f-8b61-2a552b0828c7" providerId="ADAL" clId="{5149190C-0C92-43A4-AF66-AC7672C0C3EA}" dt="2022-11-07T05:53:12.613" v="67" actId="478"/>
          <ac:spMkLst>
            <pc:docMk/>
            <pc:sldMk cId="2092215359" sldId="309"/>
            <ac:spMk id="38" creationId="{0B09AF77-E4D3-760E-68EB-D06FE2878ABF}"/>
          </ac:spMkLst>
        </pc:spChg>
        <pc:spChg chg="del">
          <ac:chgData name="유세희(Sammy)" userId="c309e5cc-64ff-444f-8b61-2a552b0828c7" providerId="ADAL" clId="{5149190C-0C92-43A4-AF66-AC7672C0C3EA}" dt="2022-11-07T05:53:12.613" v="67" actId="478"/>
          <ac:spMkLst>
            <pc:docMk/>
            <pc:sldMk cId="2092215359" sldId="309"/>
            <ac:spMk id="39" creationId="{3123C7EF-22B6-8402-0D6E-0B5A449FEEA2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40" creationId="{FF8A7C01-1218-4B54-1DBF-959D4E7F0D25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41" creationId="{C673031F-F7C6-5A7B-6471-953AD8782A9D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42" creationId="{C13575BA-F062-C0DA-90EE-0BEB1A11F010}"/>
          </ac:spMkLst>
        </pc:spChg>
        <pc:spChg chg="mod">
          <ac:chgData name="유세희(Sammy)" userId="c309e5cc-64ff-444f-8b61-2a552b0828c7" providerId="ADAL" clId="{5149190C-0C92-43A4-AF66-AC7672C0C3EA}" dt="2022-11-07T05:53:18.621" v="69" actId="1076"/>
          <ac:spMkLst>
            <pc:docMk/>
            <pc:sldMk cId="2092215359" sldId="309"/>
            <ac:spMk id="43" creationId="{2CE90A4F-FD69-E95D-A14F-FB2CCE4B31CA}"/>
          </ac:spMkLst>
        </pc:spChg>
        <pc:graphicFrameChg chg="del">
          <ac:chgData name="유세희(Sammy)" userId="c309e5cc-64ff-444f-8b61-2a552b0828c7" providerId="ADAL" clId="{5149190C-0C92-43A4-AF66-AC7672C0C3EA}" dt="2022-11-07T05:53:12.613" v="67" actId="478"/>
          <ac:graphicFrameMkLst>
            <pc:docMk/>
            <pc:sldMk cId="2092215359" sldId="309"/>
            <ac:graphicFrameMk id="5" creationId="{A0DA50D6-6110-EAA1-0C7D-41B644A794A3}"/>
          </ac:graphicFrameMkLst>
        </pc:graphicFrameChg>
        <pc:graphicFrameChg chg="del">
          <ac:chgData name="유세희(Sammy)" userId="c309e5cc-64ff-444f-8b61-2a552b0828c7" providerId="ADAL" clId="{5149190C-0C92-43A4-AF66-AC7672C0C3EA}" dt="2022-11-07T05:53:12.613" v="67" actId="478"/>
          <ac:graphicFrameMkLst>
            <pc:docMk/>
            <pc:sldMk cId="2092215359" sldId="309"/>
            <ac:graphicFrameMk id="17" creationId="{2FBB9C43-C300-4F89-29C3-516F75BC14C2}"/>
          </ac:graphicFrameMkLst>
        </pc:graphicFrameChg>
        <pc:picChg chg="del">
          <ac:chgData name="유세희(Sammy)" userId="c309e5cc-64ff-444f-8b61-2a552b0828c7" providerId="ADAL" clId="{5149190C-0C92-43A4-AF66-AC7672C0C3EA}" dt="2022-11-07T05:53:12.613" v="67" actId="478"/>
          <ac:picMkLst>
            <pc:docMk/>
            <pc:sldMk cId="2092215359" sldId="309"/>
            <ac:picMk id="10" creationId="{281E6467-4F0F-984D-51D8-A2E54054E7E0}"/>
          </ac:picMkLst>
        </pc:picChg>
        <pc:picChg chg="mod">
          <ac:chgData name="유세희(Sammy)" userId="c309e5cc-64ff-444f-8b61-2a552b0828c7" providerId="ADAL" clId="{5149190C-0C92-43A4-AF66-AC7672C0C3EA}" dt="2022-11-07T05:53:18.621" v="69" actId="1076"/>
          <ac:picMkLst>
            <pc:docMk/>
            <pc:sldMk cId="2092215359" sldId="309"/>
            <ac:picMk id="18" creationId="{6782DC41-4612-459A-EE8E-B00C2DADC2F5}"/>
          </ac:picMkLst>
        </pc:picChg>
      </pc:sldChg>
      <pc:sldChg chg="addSp delSp modSp mod">
        <pc:chgData name="유세희(Sammy)" userId="c309e5cc-64ff-444f-8b61-2a552b0828c7" providerId="ADAL" clId="{5149190C-0C92-43A4-AF66-AC7672C0C3EA}" dt="2022-11-07T07:39:21.148" v="244"/>
        <pc:sldMkLst>
          <pc:docMk/>
          <pc:sldMk cId="1837765115" sldId="311"/>
        </pc:sldMkLst>
        <pc:spChg chg="del">
          <ac:chgData name="유세희(Sammy)" userId="c309e5cc-64ff-444f-8b61-2a552b0828c7" providerId="ADAL" clId="{5149190C-0C92-43A4-AF66-AC7672C0C3EA}" dt="2022-11-07T05:52:15.056" v="53" actId="478"/>
          <ac:spMkLst>
            <pc:docMk/>
            <pc:sldMk cId="1837765115" sldId="311"/>
            <ac:spMk id="4" creationId="{DF775253-E167-9C14-AF00-559BCB01DF5A}"/>
          </ac:spMkLst>
        </pc:spChg>
        <pc:spChg chg="mod">
          <ac:chgData name="유세희(Sammy)" userId="c309e5cc-64ff-444f-8b61-2a552b0828c7" providerId="ADAL" clId="{5149190C-0C92-43A4-AF66-AC7672C0C3EA}" dt="2022-11-07T07:39:04.719" v="220" actId="571"/>
          <ac:spMkLst>
            <pc:docMk/>
            <pc:sldMk cId="1837765115" sldId="311"/>
            <ac:spMk id="5" creationId="{F6DF4BD0-0778-89E1-1CB2-F5D56E36D8C3}"/>
          </ac:spMkLst>
        </pc:spChg>
        <pc:spChg chg="add del mod">
          <ac:chgData name="유세희(Sammy)" userId="c309e5cc-64ff-444f-8b61-2a552b0828c7" providerId="ADAL" clId="{5149190C-0C92-43A4-AF66-AC7672C0C3EA}" dt="2022-11-07T05:52:49.324" v="62" actId="478"/>
          <ac:spMkLst>
            <pc:docMk/>
            <pc:sldMk cId="1837765115" sldId="311"/>
            <ac:spMk id="7" creationId="{A45EBAB8-989E-8A80-1D44-8ED36CF4BCFE}"/>
          </ac:spMkLst>
        </pc:spChg>
        <pc:spChg chg="add del mod">
          <ac:chgData name="유세희(Sammy)" userId="c309e5cc-64ff-444f-8b61-2a552b0828c7" providerId="ADAL" clId="{5149190C-0C92-43A4-AF66-AC7672C0C3EA}" dt="2022-11-07T05:55:07.948" v="139" actId="478"/>
          <ac:spMkLst>
            <pc:docMk/>
            <pc:sldMk cId="1837765115" sldId="311"/>
            <ac:spMk id="9" creationId="{00000000-0008-0000-0000-000002000000}"/>
          </ac:spMkLst>
        </pc:spChg>
        <pc:spChg chg="del">
          <ac:chgData name="유세희(Sammy)" userId="c309e5cc-64ff-444f-8b61-2a552b0828c7" providerId="ADAL" clId="{5149190C-0C92-43A4-AF66-AC7672C0C3EA}" dt="2022-11-07T05:52:15.056" v="53" actId="478"/>
          <ac:spMkLst>
            <pc:docMk/>
            <pc:sldMk cId="1837765115" sldId="311"/>
            <ac:spMk id="14" creationId="{AE7AD365-D079-A85D-19DD-3ECD69F2878A}"/>
          </ac:spMkLst>
        </pc:spChg>
        <pc:spChg chg="add mod">
          <ac:chgData name="유세희(Sammy)" userId="c309e5cc-64ff-444f-8b61-2a552b0828c7" providerId="ADAL" clId="{5149190C-0C92-43A4-AF66-AC7672C0C3EA}" dt="2022-11-07T07:39:21.148" v="244"/>
          <ac:spMkLst>
            <pc:docMk/>
            <pc:sldMk cId="1837765115" sldId="311"/>
            <ac:spMk id="16" creationId="{33252804-76EC-2F0E-4599-204828D98943}"/>
          </ac:spMkLst>
        </pc:spChg>
        <pc:spChg chg="del">
          <ac:chgData name="유세희(Sammy)" userId="c309e5cc-64ff-444f-8b61-2a552b0828c7" providerId="ADAL" clId="{5149190C-0C92-43A4-AF66-AC7672C0C3EA}" dt="2022-11-07T05:54:48.981" v="137" actId="478"/>
          <ac:spMkLst>
            <pc:docMk/>
            <pc:sldMk cId="1837765115" sldId="311"/>
            <ac:spMk id="42" creationId="{F7863486-A36C-768A-62DE-7604CC126BC1}"/>
          </ac:spMkLst>
        </pc:spChg>
        <pc:spChg chg="mod">
          <ac:chgData name="유세희(Sammy)" userId="c309e5cc-64ff-444f-8b61-2a552b0828c7" providerId="ADAL" clId="{5149190C-0C92-43A4-AF66-AC7672C0C3EA}" dt="2022-11-07T07:39:04.719" v="220" actId="571"/>
          <ac:spMkLst>
            <pc:docMk/>
            <pc:sldMk cId="1837765115" sldId="311"/>
            <ac:spMk id="51" creationId="{DC46CC4D-805F-F155-5672-3C2069289F0F}"/>
          </ac:spMkLst>
        </pc:spChg>
        <pc:spChg chg="del">
          <ac:chgData name="유세희(Sammy)" userId="c309e5cc-64ff-444f-8b61-2a552b0828c7" providerId="ADAL" clId="{5149190C-0C92-43A4-AF66-AC7672C0C3EA}" dt="2022-11-07T05:57:11.418" v="163" actId="478"/>
          <ac:spMkLst>
            <pc:docMk/>
            <pc:sldMk cId="1837765115" sldId="311"/>
            <ac:spMk id="53" creationId="{78595CBE-2716-CF82-B547-C727A82B1F92}"/>
          </ac:spMkLst>
        </pc:spChg>
        <pc:spChg chg="del">
          <ac:chgData name="유세희(Sammy)" userId="c309e5cc-64ff-444f-8b61-2a552b0828c7" providerId="ADAL" clId="{5149190C-0C92-43A4-AF66-AC7672C0C3EA}" dt="2022-11-07T05:57:11.418" v="163" actId="478"/>
          <ac:spMkLst>
            <pc:docMk/>
            <pc:sldMk cId="1837765115" sldId="311"/>
            <ac:spMk id="54" creationId="{ECD86373-4E95-8DC0-D655-3884ADFC87AB}"/>
          </ac:spMkLst>
        </pc:spChg>
        <pc:spChg chg="del">
          <ac:chgData name="유세희(Sammy)" userId="c309e5cc-64ff-444f-8b61-2a552b0828c7" providerId="ADAL" clId="{5149190C-0C92-43A4-AF66-AC7672C0C3EA}" dt="2022-11-07T05:57:11.418" v="163" actId="478"/>
          <ac:spMkLst>
            <pc:docMk/>
            <pc:sldMk cId="1837765115" sldId="311"/>
            <ac:spMk id="55" creationId="{292BF77D-0837-7D08-D1E7-4F036042C46A}"/>
          </ac:spMkLst>
        </pc:spChg>
        <pc:spChg chg="del">
          <ac:chgData name="유세희(Sammy)" userId="c309e5cc-64ff-444f-8b61-2a552b0828c7" providerId="ADAL" clId="{5149190C-0C92-43A4-AF66-AC7672C0C3EA}" dt="2022-11-07T05:57:11.418" v="163" actId="478"/>
          <ac:spMkLst>
            <pc:docMk/>
            <pc:sldMk cId="1837765115" sldId="311"/>
            <ac:spMk id="56" creationId="{57FF8030-9AFD-ADBB-23FB-813B588EFEC1}"/>
          </ac:spMkLst>
        </pc:spChg>
        <pc:spChg chg="mod">
          <ac:chgData name="유세희(Sammy)" userId="c309e5cc-64ff-444f-8b61-2a552b0828c7" providerId="ADAL" clId="{5149190C-0C92-43A4-AF66-AC7672C0C3EA}" dt="2022-11-07T07:39:04.719" v="220" actId="571"/>
          <ac:spMkLst>
            <pc:docMk/>
            <pc:sldMk cId="1837765115" sldId="311"/>
            <ac:spMk id="63" creationId="{A2E84829-6C60-25F8-67B2-6F5D7C228EF7}"/>
          </ac:spMkLst>
        </pc:spChg>
        <pc:spChg chg="mod">
          <ac:chgData name="유세희(Sammy)" userId="c309e5cc-64ff-444f-8b61-2a552b0828c7" providerId="ADAL" clId="{5149190C-0C92-43A4-AF66-AC7672C0C3EA}" dt="2022-11-07T07:39:04.719" v="220" actId="571"/>
          <ac:spMkLst>
            <pc:docMk/>
            <pc:sldMk cId="1837765115" sldId="311"/>
            <ac:spMk id="64" creationId="{8DB44263-CE3D-DB49-EB83-D425F93D1EC5}"/>
          </ac:spMkLst>
        </pc:spChg>
        <pc:spChg chg="add del mod">
          <ac:chgData name="유세희(Sammy)" userId="c309e5cc-64ff-444f-8b61-2a552b0828c7" providerId="ADAL" clId="{5149190C-0C92-43A4-AF66-AC7672C0C3EA}" dt="2022-11-07T07:39:04.719" v="220" actId="571"/>
          <ac:spMkLst>
            <pc:docMk/>
            <pc:sldMk cId="1837765115" sldId="311"/>
            <ac:spMk id="65" creationId="{6806A73F-4431-C3EC-3A47-AD5924E07BED}"/>
          </ac:spMkLst>
        </pc:spChg>
        <pc:spChg chg="del">
          <ac:chgData name="유세희(Sammy)" userId="c309e5cc-64ff-444f-8b61-2a552b0828c7" providerId="ADAL" clId="{5149190C-0C92-43A4-AF66-AC7672C0C3EA}" dt="2022-11-07T05:52:15.056" v="53" actId="478"/>
          <ac:spMkLst>
            <pc:docMk/>
            <pc:sldMk cId="1837765115" sldId="311"/>
            <ac:spMk id="68" creationId="{3CD77453-4B03-C450-EE61-2CF96EDD8C81}"/>
          </ac:spMkLst>
        </pc:spChg>
        <pc:spChg chg="mod">
          <ac:chgData name="유세희(Sammy)" userId="c309e5cc-64ff-444f-8b61-2a552b0828c7" providerId="ADAL" clId="{5149190C-0C92-43A4-AF66-AC7672C0C3EA}" dt="2022-11-07T07:39:04.719" v="220" actId="571"/>
          <ac:spMkLst>
            <pc:docMk/>
            <pc:sldMk cId="1837765115" sldId="311"/>
            <ac:spMk id="69" creationId="{F3F061A4-69C9-3BE1-9187-9D6ECF601DAE}"/>
          </ac:spMkLst>
        </pc:spChg>
        <pc:spChg chg="del">
          <ac:chgData name="유세희(Sammy)" userId="c309e5cc-64ff-444f-8b61-2a552b0828c7" providerId="ADAL" clId="{5149190C-0C92-43A4-AF66-AC7672C0C3EA}" dt="2022-11-07T05:56:37.739" v="152" actId="478"/>
          <ac:spMkLst>
            <pc:docMk/>
            <pc:sldMk cId="1837765115" sldId="311"/>
            <ac:spMk id="70" creationId="{C0C4C2F5-B928-4B95-F50D-EBD86F9C2DE0}"/>
          </ac:spMkLst>
        </pc:spChg>
        <pc:spChg chg="del">
          <ac:chgData name="유세희(Sammy)" userId="c309e5cc-64ff-444f-8b61-2a552b0828c7" providerId="ADAL" clId="{5149190C-0C92-43A4-AF66-AC7672C0C3EA}" dt="2022-11-07T05:56:35.050" v="151" actId="478"/>
          <ac:spMkLst>
            <pc:docMk/>
            <pc:sldMk cId="1837765115" sldId="311"/>
            <ac:spMk id="71" creationId="{A17641E0-0B09-D23B-E33E-A586622070EF}"/>
          </ac:spMkLst>
        </pc:spChg>
        <pc:spChg chg="del">
          <ac:chgData name="유세희(Sammy)" userId="c309e5cc-64ff-444f-8b61-2a552b0828c7" providerId="ADAL" clId="{5149190C-0C92-43A4-AF66-AC7672C0C3EA}" dt="2022-11-07T05:52:15.056" v="53" actId="478"/>
          <ac:spMkLst>
            <pc:docMk/>
            <pc:sldMk cId="1837765115" sldId="311"/>
            <ac:spMk id="72" creationId="{C215F825-0D9F-6F06-0143-8816488BAEEC}"/>
          </ac:spMkLst>
        </pc:spChg>
        <pc:spChg chg="del">
          <ac:chgData name="유세희(Sammy)" userId="c309e5cc-64ff-444f-8b61-2a552b0828c7" providerId="ADAL" clId="{5149190C-0C92-43A4-AF66-AC7672C0C3EA}" dt="2022-11-07T05:52:15.056" v="53" actId="478"/>
          <ac:spMkLst>
            <pc:docMk/>
            <pc:sldMk cId="1837765115" sldId="311"/>
            <ac:spMk id="73" creationId="{3B1EFC64-FA42-3175-1627-5170C0A75B15}"/>
          </ac:spMkLst>
        </pc:spChg>
        <pc:spChg chg="del">
          <ac:chgData name="유세희(Sammy)" userId="c309e5cc-64ff-444f-8b61-2a552b0828c7" providerId="ADAL" clId="{5149190C-0C92-43A4-AF66-AC7672C0C3EA}" dt="2022-11-07T05:53:03.282" v="66" actId="478"/>
          <ac:spMkLst>
            <pc:docMk/>
            <pc:sldMk cId="1837765115" sldId="311"/>
            <ac:spMk id="74" creationId="{3B76EBA1-6C8A-8A7B-E887-3CF42498C2C5}"/>
          </ac:spMkLst>
        </pc:spChg>
        <pc:spChg chg="del">
          <ac:chgData name="유세희(Sammy)" userId="c309e5cc-64ff-444f-8b61-2a552b0828c7" providerId="ADAL" clId="{5149190C-0C92-43A4-AF66-AC7672C0C3EA}" dt="2022-11-07T05:53:01.285" v="65" actId="478"/>
          <ac:spMkLst>
            <pc:docMk/>
            <pc:sldMk cId="1837765115" sldId="311"/>
            <ac:spMk id="75" creationId="{551FE964-99D8-7C15-BB12-DC3DE7722D8D}"/>
          </ac:spMkLst>
        </pc:spChg>
        <pc:spChg chg="del">
          <ac:chgData name="유세희(Sammy)" userId="c309e5cc-64ff-444f-8b61-2a552b0828c7" providerId="ADAL" clId="{5149190C-0C92-43A4-AF66-AC7672C0C3EA}" dt="2022-11-07T05:52:15.056" v="53" actId="478"/>
          <ac:spMkLst>
            <pc:docMk/>
            <pc:sldMk cId="1837765115" sldId="311"/>
            <ac:spMk id="76" creationId="{BD84366C-CB9C-E8CE-11ED-B0A76CF3B005}"/>
          </ac:spMkLst>
        </pc:spChg>
        <pc:spChg chg="del">
          <ac:chgData name="유세희(Sammy)" userId="c309e5cc-64ff-444f-8b61-2a552b0828c7" providerId="ADAL" clId="{5149190C-0C92-43A4-AF66-AC7672C0C3EA}" dt="2022-11-07T05:56:27.235" v="147" actId="478"/>
          <ac:spMkLst>
            <pc:docMk/>
            <pc:sldMk cId="1837765115" sldId="311"/>
            <ac:spMk id="77" creationId="{C2A7D94A-1AFF-97C7-B890-4BC28C22E651}"/>
          </ac:spMkLst>
        </pc:spChg>
        <pc:spChg chg="del">
          <ac:chgData name="유세희(Sammy)" userId="c309e5cc-64ff-444f-8b61-2a552b0828c7" providerId="ADAL" clId="{5149190C-0C92-43A4-AF66-AC7672C0C3EA}" dt="2022-11-07T05:56:29.115" v="148" actId="478"/>
          <ac:spMkLst>
            <pc:docMk/>
            <pc:sldMk cId="1837765115" sldId="311"/>
            <ac:spMk id="78" creationId="{24695523-95D4-43BD-03D6-7E6B5A7D9A57}"/>
          </ac:spMkLst>
        </pc:spChg>
        <pc:grpChg chg="add mod">
          <ac:chgData name="유세희(Sammy)" userId="c309e5cc-64ff-444f-8b61-2a552b0828c7" providerId="ADAL" clId="{5149190C-0C92-43A4-AF66-AC7672C0C3EA}" dt="2022-11-07T07:39:04.719" v="220" actId="571"/>
          <ac:grpSpMkLst>
            <pc:docMk/>
            <pc:sldMk cId="1837765115" sldId="311"/>
            <ac:grpSpMk id="13" creationId="{785B9D25-7770-C288-CB16-15991A4E7945}"/>
          </ac:grpSpMkLst>
        </pc:grpChg>
        <pc:grpChg chg="mod">
          <ac:chgData name="유세희(Sammy)" userId="c309e5cc-64ff-444f-8b61-2a552b0828c7" providerId="ADAL" clId="{5149190C-0C92-43A4-AF66-AC7672C0C3EA}" dt="2022-11-07T07:39:04.719" v="220" actId="571"/>
          <ac:grpSpMkLst>
            <pc:docMk/>
            <pc:sldMk cId="1837765115" sldId="311"/>
            <ac:grpSpMk id="79" creationId="{C04189E9-1C42-E9F4-21D9-E2745F1CBC16}"/>
          </ac:grpSpMkLst>
        </pc:grpChg>
        <pc:graphicFrameChg chg="add del mod modGraphic">
          <ac:chgData name="유세희(Sammy)" userId="c309e5cc-64ff-444f-8b61-2a552b0828c7" providerId="ADAL" clId="{5149190C-0C92-43A4-AF66-AC7672C0C3EA}" dt="2022-11-07T05:57:05.271" v="161" actId="478"/>
          <ac:graphicFrameMkLst>
            <pc:docMk/>
            <pc:sldMk cId="1837765115" sldId="311"/>
            <ac:graphicFrameMk id="8" creationId="{E688F5CF-132D-3000-EBD1-A150FF5AA69C}"/>
          </ac:graphicFrameMkLst>
        </pc:graphicFrameChg>
        <pc:picChg chg="del">
          <ac:chgData name="유세희(Sammy)" userId="c309e5cc-64ff-444f-8b61-2a552b0828c7" providerId="ADAL" clId="{5149190C-0C92-43A4-AF66-AC7672C0C3EA}" dt="2022-11-07T05:52:15.056" v="53" actId="478"/>
          <ac:picMkLst>
            <pc:docMk/>
            <pc:sldMk cId="1837765115" sldId="311"/>
            <ac:picMk id="10" creationId="{BF17EAE4-FA30-3514-3737-C12217F18A9D}"/>
          </ac:picMkLst>
        </pc:picChg>
        <pc:picChg chg="add mod">
          <ac:chgData name="유세희(Sammy)" userId="c309e5cc-64ff-444f-8b61-2a552b0828c7" providerId="ADAL" clId="{5149190C-0C92-43A4-AF66-AC7672C0C3EA}" dt="2022-11-07T05:57:08.865" v="162" actId="1076"/>
          <ac:picMkLst>
            <pc:docMk/>
            <pc:sldMk cId="1837765115" sldId="311"/>
            <ac:picMk id="12" creationId="{F1C26130-EF99-4CC4-ABAF-5406F0A74A98}"/>
          </ac:picMkLst>
        </pc:picChg>
        <pc:picChg chg="add del mod">
          <ac:chgData name="유세희(Sammy)" userId="c309e5cc-64ff-444f-8b61-2a552b0828c7" providerId="ADAL" clId="{5149190C-0C92-43A4-AF66-AC7672C0C3EA}" dt="2022-11-07T07:38:37.855" v="187" actId="478"/>
          <ac:picMkLst>
            <pc:docMk/>
            <pc:sldMk cId="1837765115" sldId="311"/>
            <ac:picMk id="15" creationId="{49353CC5-8C65-3C65-0FF1-C2BAB3B206B9}"/>
          </ac:picMkLst>
        </pc:picChg>
        <pc:picChg chg="del">
          <ac:chgData name="유세희(Sammy)" userId="c309e5cc-64ff-444f-8b61-2a552b0828c7" providerId="ADAL" clId="{5149190C-0C92-43A4-AF66-AC7672C0C3EA}" dt="2022-11-07T05:52:15.056" v="53" actId="478"/>
          <ac:picMkLst>
            <pc:docMk/>
            <pc:sldMk cId="1837765115" sldId="311"/>
            <ac:picMk id="22" creationId="{37CC4AD2-0144-23EF-B5BA-37757F0DED82}"/>
          </ac:picMkLst>
        </pc:picChg>
        <pc:picChg chg="del">
          <ac:chgData name="유세희(Sammy)" userId="c309e5cc-64ff-444f-8b61-2a552b0828c7" providerId="ADAL" clId="{5149190C-0C92-43A4-AF66-AC7672C0C3EA}" dt="2022-11-07T05:52:15.056" v="53" actId="478"/>
          <ac:picMkLst>
            <pc:docMk/>
            <pc:sldMk cId="1837765115" sldId="311"/>
            <ac:picMk id="24" creationId="{52FE2CD3-7280-471E-8B81-E28B0C60D54B}"/>
          </ac:picMkLst>
        </pc:picChg>
        <pc:picChg chg="del">
          <ac:chgData name="유세희(Sammy)" userId="c309e5cc-64ff-444f-8b61-2a552b0828c7" providerId="ADAL" clId="{5149190C-0C92-43A4-AF66-AC7672C0C3EA}" dt="2022-11-07T05:52:15.056" v="53" actId="478"/>
          <ac:picMkLst>
            <pc:docMk/>
            <pc:sldMk cId="1837765115" sldId="311"/>
            <ac:picMk id="33" creationId="{6D00A9C3-4B33-8111-1103-4B5C8DE3F24F}"/>
          </ac:picMkLst>
        </pc:picChg>
        <pc:picChg chg="del">
          <ac:chgData name="유세희(Sammy)" userId="c309e5cc-64ff-444f-8b61-2a552b0828c7" providerId="ADAL" clId="{5149190C-0C92-43A4-AF66-AC7672C0C3EA}" dt="2022-11-07T05:52:15.056" v="53" actId="478"/>
          <ac:picMkLst>
            <pc:docMk/>
            <pc:sldMk cId="1837765115" sldId="311"/>
            <ac:picMk id="36" creationId="{9A79FFA8-C0F9-F7AF-238C-1339777F93AA}"/>
          </ac:picMkLst>
        </pc:picChg>
        <pc:picChg chg="del">
          <ac:chgData name="유세희(Sammy)" userId="c309e5cc-64ff-444f-8b61-2a552b0828c7" providerId="ADAL" clId="{5149190C-0C92-43A4-AF66-AC7672C0C3EA}" dt="2022-11-07T05:52:15.056" v="53" actId="478"/>
          <ac:picMkLst>
            <pc:docMk/>
            <pc:sldMk cId="1837765115" sldId="311"/>
            <ac:picMk id="44" creationId="{FCD8BA31-095E-F9FE-D2B4-8BE053A8D20B}"/>
          </ac:picMkLst>
        </pc:picChg>
        <pc:picChg chg="mod">
          <ac:chgData name="유세희(Sammy)" userId="c309e5cc-64ff-444f-8b61-2a552b0828c7" providerId="ADAL" clId="{5149190C-0C92-43A4-AF66-AC7672C0C3EA}" dt="2022-11-07T07:39:04.719" v="220" actId="571"/>
          <ac:picMkLst>
            <pc:docMk/>
            <pc:sldMk cId="1837765115" sldId="311"/>
            <ac:picMk id="50" creationId="{CF245409-EF71-AB9B-2A6B-233BF86E25C6}"/>
          </ac:picMkLst>
        </pc:picChg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2010713303" sldId="312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3372706341" sldId="313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1667707360" sldId="314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4286268136" sldId="315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2819977890" sldId="316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76409018" sldId="317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4260268070" sldId="318"/>
        </pc:sldMkLst>
      </pc:sldChg>
      <pc:sldChg chg="del">
        <pc:chgData name="유세희(Sammy)" userId="c309e5cc-64ff-444f-8b61-2a552b0828c7" providerId="ADAL" clId="{5149190C-0C92-43A4-AF66-AC7672C0C3EA}" dt="2022-11-07T05:53:42.349" v="115" actId="47"/>
        <pc:sldMkLst>
          <pc:docMk/>
          <pc:sldMk cId="4040153095" sldId="320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3718844619" sldId="321"/>
        </pc:sldMkLst>
      </pc:sldChg>
      <pc:sldChg chg="del">
        <pc:chgData name="유세희(Sammy)" userId="c309e5cc-64ff-444f-8b61-2a552b0828c7" providerId="ADAL" clId="{5149190C-0C92-43A4-AF66-AC7672C0C3EA}" dt="2022-11-07T05:53:39.834" v="114" actId="47"/>
        <pc:sldMkLst>
          <pc:docMk/>
          <pc:sldMk cId="2454798189" sldId="32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F2B9E8-15D9-4887-A8DF-D6767264D7E1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5C07A-70D0-472C-BAA8-67EF3D19B42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62860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3F7855-BA6F-4C01-8049-B7DB62059840}" type="slidenum">
              <a:rPr lang="en-US" altLang="ko-K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20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2229045-61C0-26FB-3E32-AEA48C6F04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A70171AC-B9A8-C6CC-C1A0-8BDF963929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06E8A4F-D07A-97A7-4378-81146A052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22299F0-3AED-2B3B-2A1A-90310AE71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A7B16D7-171C-5BE4-6E6C-58FE1E7C6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9755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E7C084-8462-85C1-8CE5-C1ED0AF66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16F4269-8FE3-EC46-81D3-A3711A6D03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958F606-A7A4-C1FD-58CC-BBA2CC868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8CE7A37-2E6A-EB47-BE5D-7FFCF3107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C0AA51F-84E8-344D-9C99-E59A948FD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4875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51CD325-006E-1223-2F28-D914DD590C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70EFE30-8CEC-8118-7F76-21E59D2592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4680537-1239-D642-CDFD-8DEFF5A9C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89959FE-AB31-F8BE-49F8-59C98A31C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1FA2788-01FE-7167-356B-29BFB24A0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0173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354F92-8852-1FE7-DA52-5912D30F0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E0A37D7-64DB-1941-1AB4-74317FF23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A27BA4C-703F-5DE8-6292-C079D0FE7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01D6ADF-1FCF-0616-2447-9C39625F4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CE2C524-6FE0-C42A-602F-255F5FCF5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4195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BC0952A-8EA4-68DD-1E55-F52FEBB01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258CF05-83AF-4405-1688-CA6169FC7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9CF2186-89DE-FDA6-F07D-A55A7BCC64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3F86856C-F6AA-39CD-4A9F-2DEBB3C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CD84DD3-4CFD-36C0-C617-3E82F8EC0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09329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61C899-0CFF-48F9-FA35-1670FA729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A616C747-0C33-9FD5-16A2-A2E5EED2C9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A129917-C7C3-412E-0890-9532279F8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9ABCCE0-E608-22AE-84D5-CE6F2C55B9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09E4439-F7F3-8BB3-96ED-82446EE51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D9F3F0BA-EA14-6901-43E7-0311C2D55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9455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E7112FF-3B8A-818F-0665-4AB8558DB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8F57D5C-DF0A-B9EB-86C1-B79DCEB0D0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E856246-1695-D9E5-4BC0-9ED54ABAE2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6B0C3FFA-4FC7-0BF7-484C-3C2C2E0DF3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9F01FD2-754B-5BCE-712D-6342E03FA2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301C8789-D922-1411-3F08-D9396B1E4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710FA8B-12B5-324C-ABB1-CDCE46DAB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8779CD6C-A467-6D58-9DA5-6C71260F7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29212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8B7781-B040-BDDC-4528-76B0F4177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FED5039-ECEE-3205-2DFA-D77319E3D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CB81BA6-AB7D-16B2-6631-64D3B1C11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59AA0E0-FC1F-61EC-6E88-5F0406BE8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57886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C766EF7A-5C06-5B40-2C0A-0DD0949DC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B389EE7F-50E9-6A48-A06C-04E796A7A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F95810BF-820F-2299-4941-6E3F37F16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43729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ED5A122-CAD3-E99A-74FF-D144D4AB3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F9074193-F946-9ECD-71B9-923A70A1E9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1946744-500B-447E-2E9E-8A81C3F04F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E37BCBE-0AAA-2A68-7213-A06BA58BB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3A28BA-59E2-F141-00B2-9961BD6CB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2066CD-5044-8560-6B90-49E5A7E70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1495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AC18D99-28B7-82DA-213D-DAB674956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455120D4-E55F-89CD-5CB8-B05074517C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117C6413-0361-46AE-B3AD-414701B583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57AF516-20AC-251C-55D7-111C55469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7B557B4-B4ED-594B-2D37-9D2E119D21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8703D7F4-CF8C-2090-B525-A9C67CEC4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23316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C7CB0E6F-5821-9FCF-A6DA-3E0F0CAFDE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4BAA755-1859-6C61-22A3-02D155FB4F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5C5BB70-2B09-02E7-D7EC-08C1FEFCCD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516747-D0B9-4E0C-B98E-27DB5C22F15A}" type="datetimeFigureOut">
              <a:rPr lang="ko-KR" altLang="en-US" smtClean="0"/>
              <a:t>2022-11-07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06ED813-C888-FE09-343D-2A9753208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ABB5512-26FA-6425-E4F5-FBF5B24EC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3A3A3E-DC25-4167-8A85-B69D088EA7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99175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5351463" y="267497"/>
            <a:ext cx="1460656" cy="246221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altLang="ko-KR" sz="10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맑은 고딕" panose="020B0503020000020004" pitchFamily="50" charset="-127"/>
              </a:rPr>
              <a:t>LGE Internal Use Only</a:t>
            </a:r>
          </a:p>
        </p:txBody>
      </p:sp>
      <p:pic>
        <p:nvPicPr>
          <p:cNvPr id="10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796563" cy="23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13944" y="5295186"/>
            <a:ext cx="1578056" cy="15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ECM\TEMP\부서함\Brand담당\CI 매뉴얼★\★로고파일-자회사名\14년ver\(주)LG\LG_가로조합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485" y="5206105"/>
            <a:ext cx="892732" cy="39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내용 개체 틀 19"/>
          <p:cNvSpPr txBox="1">
            <a:spLocks/>
          </p:cNvSpPr>
          <p:nvPr/>
        </p:nvSpPr>
        <p:spPr>
          <a:xfrm>
            <a:off x="3254156" y="5206106"/>
            <a:ext cx="5655271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14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j-cs"/>
              </a:defRPr>
            </a:lvl1pPr>
            <a:lvl2pPr marL="4572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b="1" dirty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Arial Narrow"/>
                <a:ea typeface="LG스마트체 Regular"/>
              </a:rPr>
              <a:t>2022. 10. 19</a:t>
            </a:r>
            <a:endParaRPr b="1" dirty="0">
              <a:solidFill>
                <a:sysClr val="windowText" lastClr="000000">
                  <a:lumMod val="95000"/>
                  <a:lumOff val="5000"/>
                </a:sysClr>
              </a:solidFill>
              <a:latin typeface="Arial Narrow"/>
              <a:ea typeface="LG스마트체 Regular"/>
            </a:endParaRPr>
          </a:p>
        </p:txBody>
      </p:sp>
      <p:sp>
        <p:nvSpPr>
          <p:cNvPr id="18" name="제목 11"/>
          <p:cNvSpPr txBox="1">
            <a:spLocks/>
          </p:cNvSpPr>
          <p:nvPr/>
        </p:nvSpPr>
        <p:spPr>
          <a:xfrm>
            <a:off x="789942" y="1888692"/>
            <a:ext cx="8725118" cy="936796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b="1" dirty="0">
                <a:latin typeface="Arial Narrow"/>
                <a:ea typeface="LG스마트체 Regular"/>
              </a:rPr>
              <a:t>'22 Appliance Finder Italy</a:t>
            </a:r>
          </a:p>
          <a:p>
            <a:pPr>
              <a:defRPr/>
            </a:pPr>
            <a:r>
              <a:rPr lang="en-US" altLang="ko-KR" sz="2400" b="1" dirty="0">
                <a:latin typeface="Arial Narrow"/>
                <a:ea typeface="LG스마트체 Regular"/>
              </a:rPr>
              <a:t>Fridge Freezers &amp; Washing Machine Spec Checking</a:t>
            </a:r>
          </a:p>
        </p:txBody>
      </p:sp>
    </p:spTree>
    <p:extLst>
      <p:ext uri="{BB962C8B-B14F-4D97-AF65-F5344CB8AC3E}">
        <p14:creationId xmlns:p14="http://schemas.microsoft.com/office/powerpoint/2010/main" val="323174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D6CECAE0-FFF3-E938-18C5-1978CF01C4E2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74D0E-5C12-1056-9026-0B45B7454089}"/>
              </a:ext>
            </a:extLst>
          </p:cNvPr>
          <p:cNvSpPr txBox="1"/>
          <p:nvPr/>
        </p:nvSpPr>
        <p:spPr>
          <a:xfrm>
            <a:off x="0" y="6110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 err="1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Colour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6782DC41-4612-459A-EE8E-B00C2DADC2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290" y="1858634"/>
            <a:ext cx="5552006" cy="3646544"/>
          </a:xfrm>
          <a:prstGeom prst="rect">
            <a:avLst/>
          </a:prstGeom>
        </p:spPr>
      </p:pic>
      <p:sp>
        <p:nvSpPr>
          <p:cNvPr id="19" name="사각형: 둥근 모서리 18">
            <a:extLst>
              <a:ext uri="{FF2B5EF4-FFF2-40B4-BE49-F238E27FC236}">
                <a16:creationId xmlns:a16="http://schemas.microsoft.com/office/drawing/2014/main" id="{33AF3CF0-7031-758D-D8F5-935EE0FC01FD}"/>
              </a:ext>
            </a:extLst>
          </p:cNvPr>
          <p:cNvSpPr/>
          <p:nvPr/>
        </p:nvSpPr>
        <p:spPr>
          <a:xfrm>
            <a:off x="3444741" y="1526125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10417A3C-4EED-C108-8BAB-064A1D7B6A40}"/>
              </a:ext>
            </a:extLst>
          </p:cNvPr>
          <p:cNvSpPr/>
          <p:nvPr/>
        </p:nvSpPr>
        <p:spPr>
          <a:xfrm>
            <a:off x="10714377" y="620713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EB00A-2B40-8F0B-E57B-A666061A8E02}"/>
              </a:ext>
            </a:extLst>
          </p:cNvPr>
          <p:cNvSpPr txBox="1"/>
          <p:nvPr/>
        </p:nvSpPr>
        <p:spPr>
          <a:xfrm>
            <a:off x="10140181" y="626437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AFFCB5-427C-EDA4-69F1-55E46B25352A}"/>
              </a:ext>
            </a:extLst>
          </p:cNvPr>
          <p:cNvSpPr txBox="1"/>
          <p:nvPr/>
        </p:nvSpPr>
        <p:spPr>
          <a:xfrm>
            <a:off x="10140180" y="872496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47C4E902-A233-14D4-2703-1CAC5AEE3430}"/>
              </a:ext>
            </a:extLst>
          </p:cNvPr>
          <p:cNvSpPr/>
          <p:nvPr/>
        </p:nvSpPr>
        <p:spPr>
          <a:xfrm>
            <a:off x="10714377" y="861422"/>
            <a:ext cx="1106148" cy="207132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1F0F269E-FC95-2EE6-E26C-9B4A2826D7F9}"/>
              </a:ext>
            </a:extLst>
          </p:cNvPr>
          <p:cNvSpPr/>
          <p:nvPr/>
        </p:nvSpPr>
        <p:spPr>
          <a:xfrm>
            <a:off x="7571682" y="5020951"/>
            <a:ext cx="1223292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eig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57BE7927-0EC6-107D-EE86-0ED99AF01C08}"/>
              </a:ext>
            </a:extLst>
          </p:cNvPr>
          <p:cNvSpPr/>
          <p:nvPr/>
        </p:nvSpPr>
        <p:spPr>
          <a:xfrm>
            <a:off x="4886340" y="5020951"/>
            <a:ext cx="1223292" cy="32342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tainless Steel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CDB8D2C-CEFD-A653-5D0F-EF4CD6591C86}"/>
              </a:ext>
            </a:extLst>
          </p:cNvPr>
          <p:cNvSpPr txBox="1"/>
          <p:nvPr/>
        </p:nvSpPr>
        <p:spPr>
          <a:xfrm>
            <a:off x="3383385" y="5865777"/>
            <a:ext cx="55929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IT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닷컴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컬러 필터 추가 필요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UK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준 화이트 삭제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FF8A7C01-1218-4B54-1DBF-959D4E7F0D25}"/>
              </a:ext>
            </a:extLst>
          </p:cNvPr>
          <p:cNvSpPr/>
          <p:nvPr/>
        </p:nvSpPr>
        <p:spPr>
          <a:xfrm>
            <a:off x="3674534" y="5082781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C673031F-F7C6-5A7B-6471-953AD8782A9D}"/>
              </a:ext>
            </a:extLst>
          </p:cNvPr>
          <p:cNvSpPr/>
          <p:nvPr/>
        </p:nvSpPr>
        <p:spPr>
          <a:xfrm>
            <a:off x="4928896" y="5075966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타원 41">
            <a:extLst>
              <a:ext uri="{FF2B5EF4-FFF2-40B4-BE49-F238E27FC236}">
                <a16:creationId xmlns:a16="http://schemas.microsoft.com/office/drawing/2014/main" id="{C13575BA-F062-C0DA-90EE-0BEB1A11F010}"/>
              </a:ext>
            </a:extLst>
          </p:cNvPr>
          <p:cNvSpPr/>
          <p:nvPr/>
        </p:nvSpPr>
        <p:spPr>
          <a:xfrm>
            <a:off x="6289322" y="5083656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2CE90A4F-FD69-E95D-A14F-FB2CCE4B31CA}"/>
              </a:ext>
            </a:extLst>
          </p:cNvPr>
          <p:cNvSpPr/>
          <p:nvPr/>
        </p:nvSpPr>
        <p:spPr>
          <a:xfrm>
            <a:off x="7617669" y="5071260"/>
            <a:ext cx="208229" cy="203102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7871241C-0A51-5237-EDCC-73C04F01E024}"/>
              </a:ext>
            </a:extLst>
          </p:cNvPr>
          <p:cNvSpPr/>
          <p:nvPr/>
        </p:nvSpPr>
        <p:spPr>
          <a:xfrm>
            <a:off x="8893759" y="5016377"/>
            <a:ext cx="1378044" cy="34943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elect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ll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92215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9B762370-2A6C-DBE2-9F0F-CE0E3D0C4438}"/>
              </a:ext>
            </a:extLst>
          </p:cNvPr>
          <p:cNvSpPr/>
          <p:nvPr/>
        </p:nvSpPr>
        <p:spPr>
          <a:xfrm>
            <a:off x="0" y="2908300"/>
            <a:ext cx="12192000" cy="10541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0B5EB05-B8F3-D6C2-FE73-B81ED642B470}"/>
              </a:ext>
            </a:extLst>
          </p:cNvPr>
          <p:cNvSpPr txBox="1"/>
          <p:nvPr/>
        </p:nvSpPr>
        <p:spPr>
          <a:xfrm>
            <a:off x="3111500" y="3167390"/>
            <a:ext cx="5969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800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Fridge Freezer</a:t>
            </a:r>
            <a:endParaRPr lang="ko-KR" altLang="en-US" sz="2800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2480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>
            <a:extLst>
              <a:ext uri="{FF2B5EF4-FFF2-40B4-BE49-F238E27FC236}">
                <a16:creationId xmlns:a16="http://schemas.microsoft.com/office/drawing/2014/main" id="{6AA61571-1AEA-94A4-494B-F2D89D55E2D3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3AAC80-7963-ECDD-E788-A526824F9AAD}"/>
              </a:ext>
            </a:extLst>
          </p:cNvPr>
          <p:cNvSpPr txBox="1"/>
          <p:nvPr/>
        </p:nvSpPr>
        <p:spPr>
          <a:xfrm>
            <a:off x="0" y="61102"/>
            <a:ext cx="27735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Fridge Freezer Structur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A99DDDF2-3D98-45E4-94D5-5ED022D076A6}"/>
              </a:ext>
            </a:extLst>
          </p:cNvPr>
          <p:cNvGrpSpPr/>
          <p:nvPr/>
        </p:nvGrpSpPr>
        <p:grpSpPr>
          <a:xfrm>
            <a:off x="4485967" y="1427010"/>
            <a:ext cx="3220066" cy="4674541"/>
            <a:chOff x="4485967" y="1096084"/>
            <a:chExt cx="3220066" cy="4674541"/>
          </a:xfrm>
        </p:grpSpPr>
        <p:grpSp>
          <p:nvGrpSpPr>
            <p:cNvPr id="31" name="그룹 30">
              <a:extLst>
                <a:ext uri="{FF2B5EF4-FFF2-40B4-BE49-F238E27FC236}">
                  <a16:creationId xmlns:a16="http://schemas.microsoft.com/office/drawing/2014/main" id="{6338CB90-4E00-A107-EB7F-69FC4DEF4763}"/>
                </a:ext>
              </a:extLst>
            </p:cNvPr>
            <p:cNvGrpSpPr/>
            <p:nvPr/>
          </p:nvGrpSpPr>
          <p:grpSpPr>
            <a:xfrm>
              <a:off x="4485967" y="1698002"/>
              <a:ext cx="3220066" cy="4072623"/>
              <a:chOff x="4485967" y="1784097"/>
              <a:chExt cx="3220066" cy="4072623"/>
            </a:xfrm>
          </p:grpSpPr>
          <p:sp>
            <p:nvSpPr>
              <p:cNvPr id="16" name="직사각형 15">
                <a:extLst>
                  <a:ext uri="{FF2B5EF4-FFF2-40B4-BE49-F238E27FC236}">
                    <a16:creationId xmlns:a16="http://schemas.microsoft.com/office/drawing/2014/main" id="{5016DF54-F9DF-13D5-0D7C-C28469B5B980}"/>
                  </a:ext>
                </a:extLst>
              </p:cNvPr>
              <p:cNvSpPr/>
              <p:nvPr/>
            </p:nvSpPr>
            <p:spPr>
              <a:xfrm>
                <a:off x="4485967" y="1784097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1. Product type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at type of fridge are you looking for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17" name="직사각형 16">
                <a:extLst>
                  <a:ext uri="{FF2B5EF4-FFF2-40B4-BE49-F238E27FC236}">
                    <a16:creationId xmlns:a16="http://schemas.microsoft.com/office/drawing/2014/main" id="{4E0791AE-B7DB-4C98-C8D3-DA2436367B5F}"/>
                  </a:ext>
                </a:extLst>
              </p:cNvPr>
              <p:cNvSpPr/>
              <p:nvPr/>
            </p:nvSpPr>
            <p:spPr>
              <a:xfrm>
                <a:off x="4485967" y="2396011"/>
                <a:ext cx="3220066" cy="491536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2. Product capacity</a:t>
                </a:r>
              </a:p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 </a:t>
                </a:r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at capacity do you need?</a:t>
                </a:r>
              </a:p>
            </p:txBody>
          </p:sp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7B1989E3-2233-E652-25DC-0E1E01A968BA}"/>
                  </a:ext>
                </a:extLst>
              </p:cNvPr>
              <p:cNvSpPr/>
              <p:nvPr/>
            </p:nvSpPr>
            <p:spPr>
              <a:xfrm>
                <a:off x="4485967" y="3007923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3. Product size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size best fits your space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19" name="직사각형 18">
                <a:extLst>
                  <a:ext uri="{FF2B5EF4-FFF2-40B4-BE49-F238E27FC236}">
                    <a16:creationId xmlns:a16="http://schemas.microsoft.com/office/drawing/2014/main" id="{E3784645-F366-1115-963D-4D3352DD51F2}"/>
                  </a:ext>
                </a:extLst>
              </p:cNvPr>
              <p:cNvSpPr/>
              <p:nvPr/>
            </p:nvSpPr>
            <p:spPr>
              <a:xfrm>
                <a:off x="4485967" y="3619836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4. Ice &amp; Water Dispenser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Do you need a fridge with an Ice &amp; Water Dispenser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F0B7E585-3589-0421-8CD4-0616EC72A806}"/>
                  </a:ext>
                </a:extLst>
              </p:cNvPr>
              <p:cNvSpPr/>
              <p:nvPr/>
            </p:nvSpPr>
            <p:spPr>
              <a:xfrm>
                <a:off x="4485967" y="4224537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5. Key feature 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Key feature of a fridge is your priority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21" name="직사각형 20">
                <a:extLst>
                  <a:ext uri="{FF2B5EF4-FFF2-40B4-BE49-F238E27FC236}">
                    <a16:creationId xmlns:a16="http://schemas.microsoft.com/office/drawing/2014/main" id="{07136800-C9AB-3A75-1D4F-034E82565122}"/>
                  </a:ext>
                </a:extLst>
              </p:cNvPr>
              <p:cNvSpPr/>
              <p:nvPr/>
            </p:nvSpPr>
            <p:spPr>
              <a:xfrm>
                <a:off x="4485967" y="4787551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6. Additional features</a:t>
                </a:r>
              </a:p>
              <a:p>
                <a:pPr algn="ctr"/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additional features do you want from your fridge?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A6414C23-AF79-69AF-8B25-4B812EB0E7AC}"/>
                  </a:ext>
                </a:extLst>
              </p:cNvPr>
              <p:cNvSpPr/>
              <p:nvPr/>
            </p:nvSpPr>
            <p:spPr>
              <a:xfrm>
                <a:off x="4485967" y="5365183"/>
                <a:ext cx="3220066" cy="49153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7. Product </a:t>
                </a:r>
                <a:r>
                  <a:rPr lang="en-US" altLang="ko-KR" sz="1400" kern="0" dirty="0" err="1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colour</a:t>
                </a:r>
                <a:endPara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  <a:p>
                <a:pPr algn="ctr"/>
                <a:r>
                  <a:rPr lang="en-US" altLang="ko-KR" sz="14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 </a:t>
                </a:r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Which </a:t>
                </a:r>
                <a:r>
                  <a:rPr lang="en-US" altLang="ko-KR" sz="1100" kern="0" dirty="0" err="1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colour</a:t>
                </a:r>
                <a:r>
                  <a:rPr lang="en-US" altLang="ko-KR" sz="1100" kern="0" dirty="0">
                    <a:ln>
                      <a:solidFill>
                        <a:prstClr val="black">
                          <a:alpha val="0"/>
                        </a:prstClr>
                      </a:solidFill>
                    </a:ln>
                    <a:solidFill>
                      <a:srgbClr val="000000"/>
                    </a:solidFill>
                    <a:latin typeface="Arial Narrow" panose="020B0606020202030204" pitchFamily="34" charset="0"/>
                    <a:ea typeface="LG스마트체2.0 Regular" panose="020B0600000101010101" pitchFamily="50" charset="-127"/>
                  </a:rPr>
                  <a:t> theme matches your interior? </a:t>
                </a:r>
                <a:endParaRPr lang="ko-KR" altLang="en-US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endParaRPr>
              </a:p>
            </p:txBody>
          </p:sp>
        </p:grpSp>
        <p:sp>
          <p:nvSpPr>
            <p:cNvPr id="2" name="직사각형 1">
              <a:extLst>
                <a:ext uri="{FF2B5EF4-FFF2-40B4-BE49-F238E27FC236}">
                  <a16:creationId xmlns:a16="http://schemas.microsoft.com/office/drawing/2014/main" id="{453F9A7E-9415-154D-0179-9BD210FFB758}"/>
                </a:ext>
              </a:extLst>
            </p:cNvPr>
            <p:cNvSpPr/>
            <p:nvPr/>
          </p:nvSpPr>
          <p:spPr>
            <a:xfrm>
              <a:off x="4485967" y="1096084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 Motion</a:t>
              </a:r>
            </a:p>
            <a:p>
              <a:pPr algn="ctr"/>
              <a:r>
                <a:rPr lang="en-US" altLang="ko-KR" sz="11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Explore our guide step by step!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772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0BB5BE6D-B6AA-923F-B907-860518F4FAEC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237C41-6B98-DB91-1C1D-16478BFB9D17}"/>
              </a:ext>
            </a:extLst>
          </p:cNvPr>
          <p:cNvSpPr txBox="1"/>
          <p:nvPr/>
        </p:nvSpPr>
        <p:spPr>
          <a:xfrm>
            <a:off x="0" y="61102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yp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BB915451-E8ED-C459-FE76-3312A0C72C27}"/>
              </a:ext>
            </a:extLst>
          </p:cNvPr>
          <p:cNvSpPr/>
          <p:nvPr/>
        </p:nvSpPr>
        <p:spPr>
          <a:xfrm>
            <a:off x="951991" y="937615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AB7723FD-5C11-6CD8-FDAE-2ED5AF1527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991" y="1266583"/>
            <a:ext cx="5552006" cy="3650088"/>
          </a:xfrm>
          <a:prstGeom prst="rect">
            <a:avLst/>
          </a:prstGeom>
        </p:spPr>
      </p:pic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9E7FCF7-4A74-29DC-4D34-3291F45312A1}"/>
              </a:ext>
            </a:extLst>
          </p:cNvPr>
          <p:cNvSpPr/>
          <p:nvPr/>
        </p:nvSpPr>
        <p:spPr>
          <a:xfrm>
            <a:off x="6697150" y="4177061"/>
            <a:ext cx="1727200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oppia Porta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FBB90DF4-7005-75BF-969A-492FC666505F}"/>
              </a:ext>
            </a:extLst>
          </p:cNvPr>
          <p:cNvSpPr/>
          <p:nvPr/>
        </p:nvSpPr>
        <p:spPr>
          <a:xfrm>
            <a:off x="8508487" y="4177061"/>
            <a:ext cx="1980316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rigoriferi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Maxi Side-by-Sid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29A584AE-12F9-AD7E-10E6-87BDDDAA81A8}"/>
              </a:ext>
            </a:extLst>
          </p:cNvPr>
          <p:cNvSpPr/>
          <p:nvPr/>
        </p:nvSpPr>
        <p:spPr>
          <a:xfrm>
            <a:off x="6701279" y="3429000"/>
            <a:ext cx="1727200" cy="65857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merican Style Fridge Freezers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ide-by-Sid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BB3ED822-40FE-9D26-CFC0-D165857C9264}"/>
              </a:ext>
            </a:extLst>
          </p:cNvPr>
          <p:cNvSpPr/>
          <p:nvPr/>
        </p:nvSpPr>
        <p:spPr>
          <a:xfrm>
            <a:off x="8508487" y="3429001"/>
            <a:ext cx="1727200" cy="65857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ulti Door Fridge Freezers</a:t>
            </a:r>
          </a:p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ultidoor</a:t>
            </a:r>
            <a:endParaRPr lang="ko-KR" altLang="en-US" sz="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A658D5AF-C7A9-E630-A10A-8C261FD826B5}"/>
              </a:ext>
            </a:extLst>
          </p:cNvPr>
          <p:cNvSpPr/>
          <p:nvPr/>
        </p:nvSpPr>
        <p:spPr>
          <a:xfrm>
            <a:off x="10315695" y="3429000"/>
            <a:ext cx="1727200" cy="658569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ll Fridge Freezers</a:t>
            </a:r>
          </a:p>
          <a:p>
            <a:pPr algn="ctr"/>
            <a:r>
              <a:rPr lang="en-US" altLang="ko-KR" sz="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algn="ctr"/>
            <a:r>
              <a:rPr lang="en-US" altLang="ko-KR" sz="8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mbinati</a:t>
            </a:r>
            <a:endParaRPr lang="ko-KR" altLang="en-US" sz="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F135FC87-88A3-B2CE-B258-DEB726962C14}"/>
              </a:ext>
            </a:extLst>
          </p:cNvPr>
          <p:cNvSpPr/>
          <p:nvPr/>
        </p:nvSpPr>
        <p:spPr>
          <a:xfrm>
            <a:off x="10714377" y="620713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6B3B997-D895-988A-BF8A-068CCB3D1E1C}"/>
              </a:ext>
            </a:extLst>
          </p:cNvPr>
          <p:cNvSpPr txBox="1"/>
          <p:nvPr/>
        </p:nvSpPr>
        <p:spPr>
          <a:xfrm>
            <a:off x="10140181" y="626437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E84879C-9BE5-C312-5C2D-96446FF23124}"/>
              </a:ext>
            </a:extLst>
          </p:cNvPr>
          <p:cNvSpPr txBox="1"/>
          <p:nvPr/>
        </p:nvSpPr>
        <p:spPr>
          <a:xfrm>
            <a:off x="6697150" y="4766106"/>
            <a:ext cx="55929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파인더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타입 추가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43E039D3-B42C-2675-1252-B56475594265}"/>
              </a:ext>
            </a:extLst>
          </p:cNvPr>
          <p:cNvSpPr/>
          <p:nvPr/>
        </p:nvSpPr>
        <p:spPr>
          <a:xfrm>
            <a:off x="6742620" y="3633880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3" name="타원 72">
            <a:extLst>
              <a:ext uri="{FF2B5EF4-FFF2-40B4-BE49-F238E27FC236}">
                <a16:creationId xmlns:a16="http://schemas.microsoft.com/office/drawing/2014/main" id="{C0A5380E-A40D-5096-ADED-516F93B79004}"/>
              </a:ext>
            </a:extLst>
          </p:cNvPr>
          <p:cNvSpPr/>
          <p:nvPr/>
        </p:nvSpPr>
        <p:spPr>
          <a:xfrm>
            <a:off x="10388817" y="3657251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4" name="타원 73">
            <a:extLst>
              <a:ext uri="{FF2B5EF4-FFF2-40B4-BE49-F238E27FC236}">
                <a16:creationId xmlns:a16="http://schemas.microsoft.com/office/drawing/2014/main" id="{9A7B77E0-83F5-7A4B-231F-BCF8AAB801B0}"/>
              </a:ext>
            </a:extLst>
          </p:cNvPr>
          <p:cNvSpPr/>
          <p:nvPr/>
        </p:nvSpPr>
        <p:spPr>
          <a:xfrm>
            <a:off x="6738491" y="4229581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5" name="타원 74">
            <a:extLst>
              <a:ext uri="{FF2B5EF4-FFF2-40B4-BE49-F238E27FC236}">
                <a16:creationId xmlns:a16="http://schemas.microsoft.com/office/drawing/2014/main" id="{263704D2-D536-2B4C-1561-06F60477EF78}"/>
              </a:ext>
            </a:extLst>
          </p:cNvPr>
          <p:cNvSpPr/>
          <p:nvPr/>
        </p:nvSpPr>
        <p:spPr>
          <a:xfrm>
            <a:off x="8550417" y="4234951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7" name="타원 76">
            <a:extLst>
              <a:ext uri="{FF2B5EF4-FFF2-40B4-BE49-F238E27FC236}">
                <a16:creationId xmlns:a16="http://schemas.microsoft.com/office/drawing/2014/main" id="{732EB01E-D81A-632E-8AA3-B2B8FDC198C3}"/>
              </a:ext>
            </a:extLst>
          </p:cNvPr>
          <p:cNvSpPr/>
          <p:nvPr/>
        </p:nvSpPr>
        <p:spPr>
          <a:xfrm>
            <a:off x="8555098" y="3651985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330889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66789F17-7905-E449-FFBB-998856BD3DDA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106A58-D501-2881-A678-32FF6E908B52}"/>
              </a:ext>
            </a:extLst>
          </p:cNvPr>
          <p:cNvSpPr txBox="1"/>
          <p:nvPr/>
        </p:nvSpPr>
        <p:spPr>
          <a:xfrm>
            <a:off x="0" y="61102"/>
            <a:ext cx="10903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Capacity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6EEDCC7-326C-D0CE-6848-C41BC54AA473}"/>
              </a:ext>
            </a:extLst>
          </p:cNvPr>
          <p:cNvSpPr txBox="1"/>
          <p:nvPr/>
        </p:nvSpPr>
        <p:spPr>
          <a:xfrm>
            <a:off x="656526" y="5597061"/>
            <a:ext cx="55929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량 구분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0L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위로 수정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옵션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 추가 필요</a:t>
            </a:r>
            <a:endParaRPr lang="en-US" altLang="ko-KR" sz="105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05708893-9BF7-1832-0CC5-65645F91E7AB}"/>
              </a:ext>
            </a:extLst>
          </p:cNvPr>
          <p:cNvSpPr/>
          <p:nvPr/>
        </p:nvSpPr>
        <p:spPr>
          <a:xfrm>
            <a:off x="10714377" y="620713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62D2991-9B4D-DEFD-37F7-EBB544732A83}"/>
              </a:ext>
            </a:extLst>
          </p:cNvPr>
          <p:cNvSpPr txBox="1"/>
          <p:nvPr/>
        </p:nvSpPr>
        <p:spPr>
          <a:xfrm>
            <a:off x="10140181" y="626437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BBF95F-B62F-74AF-176A-03527AE90D09}"/>
              </a:ext>
            </a:extLst>
          </p:cNvPr>
          <p:cNvSpPr txBox="1"/>
          <p:nvPr/>
        </p:nvSpPr>
        <p:spPr>
          <a:xfrm>
            <a:off x="10140180" y="872496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5" name="사각형: 둥근 모서리 44">
            <a:extLst>
              <a:ext uri="{FF2B5EF4-FFF2-40B4-BE49-F238E27FC236}">
                <a16:creationId xmlns:a16="http://schemas.microsoft.com/office/drawing/2014/main" id="{0C0CBF28-F2B4-E62F-0D4D-5C9C87E1B22F}"/>
              </a:ext>
            </a:extLst>
          </p:cNvPr>
          <p:cNvSpPr/>
          <p:nvPr/>
        </p:nvSpPr>
        <p:spPr>
          <a:xfrm>
            <a:off x="10714377" y="861422"/>
            <a:ext cx="1106148" cy="207132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2" name="사각형: 둥근 모서리 61">
            <a:extLst>
              <a:ext uri="{FF2B5EF4-FFF2-40B4-BE49-F238E27FC236}">
                <a16:creationId xmlns:a16="http://schemas.microsoft.com/office/drawing/2014/main" id="{7A454CB0-D6E7-D54A-6EB8-6FFD598DA8A2}"/>
              </a:ext>
            </a:extLst>
          </p:cNvPr>
          <p:cNvSpPr/>
          <p:nvPr/>
        </p:nvSpPr>
        <p:spPr>
          <a:xfrm>
            <a:off x="1090363" y="1257409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70" name="그림 69">
            <a:extLst>
              <a:ext uri="{FF2B5EF4-FFF2-40B4-BE49-F238E27FC236}">
                <a16:creationId xmlns:a16="http://schemas.microsoft.com/office/drawing/2014/main" id="{B61FDB59-248B-9772-F7AC-74599A4661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363" y="1586378"/>
            <a:ext cx="4743240" cy="3685244"/>
          </a:xfrm>
          <a:prstGeom prst="rect">
            <a:avLst/>
          </a:prstGeom>
        </p:spPr>
      </p:pic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B22C393E-62C6-D9BF-39E5-4464555965CB}"/>
              </a:ext>
            </a:extLst>
          </p:cNvPr>
          <p:cNvSpPr/>
          <p:nvPr/>
        </p:nvSpPr>
        <p:spPr>
          <a:xfrm>
            <a:off x="2205970" y="3914870"/>
            <a:ext cx="1327399" cy="618845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00L~500L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</a:t>
            </a:r>
            <a:r>
              <a:rPr lang="ko-KR" altLang="en-US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00</a:t>
            </a:r>
            <a:r>
              <a:rPr lang="ko-KR" altLang="en-US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</a:t>
            </a:r>
            <a:r>
              <a:rPr lang="ko-KR" altLang="en-US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00L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59CDAA8C-3A01-8FC3-DE44-BDFFC766FCD7}"/>
              </a:ext>
            </a:extLst>
          </p:cNvPr>
          <p:cNvSpPr/>
          <p:nvPr/>
        </p:nvSpPr>
        <p:spPr>
          <a:xfrm>
            <a:off x="845117" y="3914870"/>
            <a:ext cx="1327399" cy="643071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nder 400L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eno di 400L</a:t>
            </a:r>
          </a:p>
        </p:txBody>
      </p:sp>
      <p:sp>
        <p:nvSpPr>
          <p:cNvPr id="48" name="사각형: 둥근 모서리 47">
            <a:extLst>
              <a:ext uri="{FF2B5EF4-FFF2-40B4-BE49-F238E27FC236}">
                <a16:creationId xmlns:a16="http://schemas.microsoft.com/office/drawing/2014/main" id="{E41C4A81-8453-9FFB-F6EB-40E41573C15E}"/>
              </a:ext>
            </a:extLst>
          </p:cNvPr>
          <p:cNvSpPr/>
          <p:nvPr/>
        </p:nvSpPr>
        <p:spPr>
          <a:xfrm>
            <a:off x="3556247" y="3888753"/>
            <a:ext cx="1327399" cy="64307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00L~600L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 500 a 600L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9CB21417-AA54-2DC6-D7A7-D5A12E3065CD}"/>
              </a:ext>
            </a:extLst>
          </p:cNvPr>
          <p:cNvSpPr/>
          <p:nvPr/>
        </p:nvSpPr>
        <p:spPr>
          <a:xfrm>
            <a:off x="4917100" y="3868838"/>
            <a:ext cx="1327399" cy="64307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00L or more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iú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di 600L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7" name="타원 76">
            <a:extLst>
              <a:ext uri="{FF2B5EF4-FFF2-40B4-BE49-F238E27FC236}">
                <a16:creationId xmlns:a16="http://schemas.microsoft.com/office/drawing/2014/main" id="{7039EE3C-A0FC-F313-32D8-91570D4B1E62}"/>
              </a:ext>
            </a:extLst>
          </p:cNvPr>
          <p:cNvSpPr/>
          <p:nvPr/>
        </p:nvSpPr>
        <p:spPr>
          <a:xfrm>
            <a:off x="865407" y="4148295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8" name="타원 77">
            <a:extLst>
              <a:ext uri="{FF2B5EF4-FFF2-40B4-BE49-F238E27FC236}">
                <a16:creationId xmlns:a16="http://schemas.microsoft.com/office/drawing/2014/main" id="{A3762AF7-0480-C216-97FE-8FADA460D208}"/>
              </a:ext>
            </a:extLst>
          </p:cNvPr>
          <p:cNvSpPr/>
          <p:nvPr/>
        </p:nvSpPr>
        <p:spPr>
          <a:xfrm>
            <a:off x="2212077" y="4132774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9" name="타원 78">
            <a:extLst>
              <a:ext uri="{FF2B5EF4-FFF2-40B4-BE49-F238E27FC236}">
                <a16:creationId xmlns:a16="http://schemas.microsoft.com/office/drawing/2014/main" id="{964793C2-E21E-CC0B-1B81-B55759076586}"/>
              </a:ext>
            </a:extLst>
          </p:cNvPr>
          <p:cNvSpPr/>
          <p:nvPr/>
        </p:nvSpPr>
        <p:spPr>
          <a:xfrm>
            <a:off x="3580561" y="4116964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0" name="타원 79">
            <a:extLst>
              <a:ext uri="{FF2B5EF4-FFF2-40B4-BE49-F238E27FC236}">
                <a16:creationId xmlns:a16="http://schemas.microsoft.com/office/drawing/2014/main" id="{3DB3F99A-38CC-CF28-C936-76DB07155299}"/>
              </a:ext>
            </a:extLst>
          </p:cNvPr>
          <p:cNvSpPr/>
          <p:nvPr/>
        </p:nvSpPr>
        <p:spPr>
          <a:xfrm>
            <a:off x="4955510" y="4119531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endParaRPr lang="ko-KR" altLang="en-US" sz="16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00134EAA-DB8A-85E9-F9C7-6109B5BBF5B8}"/>
              </a:ext>
            </a:extLst>
          </p:cNvPr>
          <p:cNvSpPr/>
          <p:nvPr/>
        </p:nvSpPr>
        <p:spPr>
          <a:xfrm>
            <a:off x="6313669" y="3888753"/>
            <a:ext cx="1608021" cy="669188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elect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ll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789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0F578BBE-FDAE-3146-7186-B16DD2D71377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0ED210-85E9-ADDF-1944-FD1A20EC23AB}"/>
              </a:ext>
            </a:extLst>
          </p:cNvPr>
          <p:cNvSpPr txBox="1"/>
          <p:nvPr/>
        </p:nvSpPr>
        <p:spPr>
          <a:xfrm>
            <a:off x="0" y="61102"/>
            <a:ext cx="614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Siz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619C6F-8E41-313C-4718-C50601B34DAE}"/>
              </a:ext>
            </a:extLst>
          </p:cNvPr>
          <p:cNvSpPr txBox="1"/>
          <p:nvPr/>
        </p:nvSpPr>
        <p:spPr>
          <a:xfrm>
            <a:off x="6743502" y="4934091"/>
            <a:ext cx="3601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IT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닷컴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필터 상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pth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추가 필요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옵션 그대로 유지</a:t>
            </a:r>
            <a:endParaRPr lang="en-US" altLang="ko-KR" sz="105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A0DEF2AD-E084-F260-0BFB-56A65514E764}"/>
              </a:ext>
            </a:extLst>
          </p:cNvPr>
          <p:cNvSpPr/>
          <p:nvPr/>
        </p:nvSpPr>
        <p:spPr>
          <a:xfrm>
            <a:off x="9016206" y="699090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67CE44B-6BFD-A5E8-F3AE-B9828E69781B}"/>
              </a:ext>
            </a:extLst>
          </p:cNvPr>
          <p:cNvSpPr txBox="1"/>
          <p:nvPr/>
        </p:nvSpPr>
        <p:spPr>
          <a:xfrm>
            <a:off x="8442010" y="704814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1952FD1-1386-149C-E275-38576F0299E8}"/>
              </a:ext>
            </a:extLst>
          </p:cNvPr>
          <p:cNvSpPr txBox="1"/>
          <p:nvPr/>
        </p:nvSpPr>
        <p:spPr>
          <a:xfrm>
            <a:off x="8442009" y="950873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11D5D20B-8DE9-B85A-4889-17490D06555E}"/>
              </a:ext>
            </a:extLst>
          </p:cNvPr>
          <p:cNvSpPr/>
          <p:nvPr/>
        </p:nvSpPr>
        <p:spPr>
          <a:xfrm>
            <a:off x="9016206" y="939799"/>
            <a:ext cx="1106148" cy="207132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5" name="그림 24">
            <a:extLst>
              <a:ext uri="{FF2B5EF4-FFF2-40B4-BE49-F238E27FC236}">
                <a16:creationId xmlns:a16="http://schemas.microsoft.com/office/drawing/2014/main" id="{67F9262E-FEF7-B283-A319-90F60B88E4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2156" y="1174051"/>
            <a:ext cx="4691346" cy="5605045"/>
          </a:xfrm>
          <a:prstGeom prst="rect">
            <a:avLst/>
          </a:prstGeom>
        </p:spPr>
      </p:pic>
      <p:sp>
        <p:nvSpPr>
          <p:cNvPr id="26" name="사각형: 둥근 모서리 25">
            <a:extLst>
              <a:ext uri="{FF2B5EF4-FFF2-40B4-BE49-F238E27FC236}">
                <a16:creationId xmlns:a16="http://schemas.microsoft.com/office/drawing/2014/main" id="{8D5FE577-6849-3B90-2E20-57D7E397433B}"/>
              </a:ext>
            </a:extLst>
          </p:cNvPr>
          <p:cNvSpPr/>
          <p:nvPr/>
        </p:nvSpPr>
        <p:spPr>
          <a:xfrm>
            <a:off x="2052155" y="908104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8" name="사각형: 둥근 모서리 37">
            <a:extLst>
              <a:ext uri="{FF2B5EF4-FFF2-40B4-BE49-F238E27FC236}">
                <a16:creationId xmlns:a16="http://schemas.microsoft.com/office/drawing/2014/main" id="{50A0CA3D-79E1-12DE-063A-C9B87FD082A7}"/>
              </a:ext>
            </a:extLst>
          </p:cNvPr>
          <p:cNvSpPr/>
          <p:nvPr/>
        </p:nvSpPr>
        <p:spPr>
          <a:xfrm>
            <a:off x="2279907" y="5524207"/>
            <a:ext cx="1327399" cy="32342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nder 600mm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사각형: 둥근 모서리 38">
            <a:extLst>
              <a:ext uri="{FF2B5EF4-FFF2-40B4-BE49-F238E27FC236}">
                <a16:creationId xmlns:a16="http://schemas.microsoft.com/office/drawing/2014/main" id="{953CD44C-CFA4-14E6-46F3-850FD3A4336B}"/>
              </a:ext>
            </a:extLst>
          </p:cNvPr>
          <p:cNvSpPr/>
          <p:nvPr/>
        </p:nvSpPr>
        <p:spPr>
          <a:xfrm>
            <a:off x="3689771" y="5524207"/>
            <a:ext cx="1327399" cy="323426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 600 a 860mm</a:t>
            </a:r>
          </a:p>
        </p:txBody>
      </p:sp>
      <p:sp>
        <p:nvSpPr>
          <p:cNvPr id="40" name="사각형: 둥근 모서리 39">
            <a:extLst>
              <a:ext uri="{FF2B5EF4-FFF2-40B4-BE49-F238E27FC236}">
                <a16:creationId xmlns:a16="http://schemas.microsoft.com/office/drawing/2014/main" id="{79C52F4B-2443-1CD7-2867-49B9235EB6F7}"/>
              </a:ext>
            </a:extLst>
          </p:cNvPr>
          <p:cNvSpPr/>
          <p:nvPr/>
        </p:nvSpPr>
        <p:spPr>
          <a:xfrm>
            <a:off x="5099635" y="5524207"/>
            <a:ext cx="1327399" cy="32342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60mm or mor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C7434386-F5FF-F984-EF7B-6A7FA4954496}"/>
              </a:ext>
            </a:extLst>
          </p:cNvPr>
          <p:cNvSpPr/>
          <p:nvPr/>
        </p:nvSpPr>
        <p:spPr>
          <a:xfrm>
            <a:off x="2279907" y="6095000"/>
            <a:ext cx="1327399" cy="32342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nder 1800mm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96A01713-AD3B-42FF-2B37-0F2868A72BFE}"/>
              </a:ext>
            </a:extLst>
          </p:cNvPr>
          <p:cNvSpPr/>
          <p:nvPr/>
        </p:nvSpPr>
        <p:spPr>
          <a:xfrm>
            <a:off x="3689771" y="6095000"/>
            <a:ext cx="1327399" cy="323426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 1800 a 2000mm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3" name="사각형: 둥근 모서리 42">
            <a:extLst>
              <a:ext uri="{FF2B5EF4-FFF2-40B4-BE49-F238E27FC236}">
                <a16:creationId xmlns:a16="http://schemas.microsoft.com/office/drawing/2014/main" id="{7558F087-AD03-02FD-28CB-74261E5B159E}"/>
              </a:ext>
            </a:extLst>
          </p:cNvPr>
          <p:cNvSpPr/>
          <p:nvPr/>
        </p:nvSpPr>
        <p:spPr>
          <a:xfrm>
            <a:off x="5099635" y="6095000"/>
            <a:ext cx="1327399" cy="32342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00mm or more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6" name="타원 55">
            <a:extLst>
              <a:ext uri="{FF2B5EF4-FFF2-40B4-BE49-F238E27FC236}">
                <a16:creationId xmlns:a16="http://schemas.microsoft.com/office/drawing/2014/main" id="{BB0D259B-43DA-ECB8-B749-20BC1B1C48D6}"/>
              </a:ext>
            </a:extLst>
          </p:cNvPr>
          <p:cNvSpPr/>
          <p:nvPr/>
        </p:nvSpPr>
        <p:spPr>
          <a:xfrm>
            <a:off x="2288914" y="5575207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7" name="타원 56">
            <a:extLst>
              <a:ext uri="{FF2B5EF4-FFF2-40B4-BE49-F238E27FC236}">
                <a16:creationId xmlns:a16="http://schemas.microsoft.com/office/drawing/2014/main" id="{7EB92C65-7FB1-BE07-674D-3291E6B6AF2A}"/>
              </a:ext>
            </a:extLst>
          </p:cNvPr>
          <p:cNvSpPr/>
          <p:nvPr/>
        </p:nvSpPr>
        <p:spPr>
          <a:xfrm>
            <a:off x="3689771" y="5586303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0" name="타원 59">
            <a:extLst>
              <a:ext uri="{FF2B5EF4-FFF2-40B4-BE49-F238E27FC236}">
                <a16:creationId xmlns:a16="http://schemas.microsoft.com/office/drawing/2014/main" id="{71EB83B0-5F87-42C6-7E2B-56B8B9DCEBDE}"/>
              </a:ext>
            </a:extLst>
          </p:cNvPr>
          <p:cNvSpPr/>
          <p:nvPr/>
        </p:nvSpPr>
        <p:spPr>
          <a:xfrm>
            <a:off x="5127289" y="5581805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1" name="타원 60">
            <a:extLst>
              <a:ext uri="{FF2B5EF4-FFF2-40B4-BE49-F238E27FC236}">
                <a16:creationId xmlns:a16="http://schemas.microsoft.com/office/drawing/2014/main" id="{AB95CAE6-6AC1-7931-7D37-DCCDD643B282}"/>
              </a:ext>
            </a:extLst>
          </p:cNvPr>
          <p:cNvSpPr/>
          <p:nvPr/>
        </p:nvSpPr>
        <p:spPr>
          <a:xfrm>
            <a:off x="2288914" y="6167952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2" name="타원 61">
            <a:extLst>
              <a:ext uri="{FF2B5EF4-FFF2-40B4-BE49-F238E27FC236}">
                <a16:creationId xmlns:a16="http://schemas.microsoft.com/office/drawing/2014/main" id="{BDDF976D-88B7-E0DA-0928-714630A6ACAB}"/>
              </a:ext>
            </a:extLst>
          </p:cNvPr>
          <p:cNvSpPr/>
          <p:nvPr/>
        </p:nvSpPr>
        <p:spPr>
          <a:xfrm>
            <a:off x="3689770" y="6170275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endParaRPr lang="ko-KR" altLang="en-US" sz="12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832BE133-53E9-D1C3-6250-CC504F300828}"/>
              </a:ext>
            </a:extLst>
          </p:cNvPr>
          <p:cNvSpPr/>
          <p:nvPr/>
        </p:nvSpPr>
        <p:spPr>
          <a:xfrm>
            <a:off x="5133597" y="6167952"/>
            <a:ext cx="208229" cy="208229"/>
          </a:xfrm>
          <a:prstGeom prst="ellipse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endParaRPr lang="ko-KR" altLang="en-US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18241C-EEC6-938D-D329-5AEBA2FF3FB0}"/>
              </a:ext>
            </a:extLst>
          </p:cNvPr>
          <p:cNvSpPr txBox="1"/>
          <p:nvPr/>
        </p:nvSpPr>
        <p:spPr>
          <a:xfrm>
            <a:off x="9784544" y="5594983"/>
            <a:ext cx="1327399" cy="2616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위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m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 통일</a:t>
            </a:r>
            <a:endParaRPr lang="en-US" altLang="ko-KR" sz="105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D3FE5C9-8003-C1FE-EF57-C62F307B572B}"/>
              </a:ext>
            </a:extLst>
          </p:cNvPr>
          <p:cNvSpPr/>
          <p:nvPr/>
        </p:nvSpPr>
        <p:spPr>
          <a:xfrm>
            <a:off x="6509499" y="5524207"/>
            <a:ext cx="1244240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elect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ll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59CD24AC-5315-4F93-4089-43BCB6389968}"/>
              </a:ext>
            </a:extLst>
          </p:cNvPr>
          <p:cNvSpPr/>
          <p:nvPr/>
        </p:nvSpPr>
        <p:spPr>
          <a:xfrm>
            <a:off x="6509499" y="6149290"/>
            <a:ext cx="1244240" cy="323426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elect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ll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94621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D6CECAE0-FFF3-E938-18C5-1978CF01C4E2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74D0E-5C12-1056-9026-0B45B7454089}"/>
              </a:ext>
            </a:extLst>
          </p:cNvPr>
          <p:cNvSpPr txBox="1"/>
          <p:nvPr/>
        </p:nvSpPr>
        <p:spPr>
          <a:xfrm>
            <a:off x="0" y="61102"/>
            <a:ext cx="2601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Ice &amp; Water Dispenser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A5CB7B-F981-3A3C-691A-346814003A33}"/>
              </a:ext>
            </a:extLst>
          </p:cNvPr>
          <p:cNvSpPr txBox="1"/>
          <p:nvPr/>
        </p:nvSpPr>
        <p:spPr>
          <a:xfrm>
            <a:off x="3645012" y="5767437"/>
            <a:ext cx="55929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K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05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3E977856-0955-67A3-C84A-77614ED80749}"/>
              </a:ext>
            </a:extLst>
          </p:cNvPr>
          <p:cNvSpPr/>
          <p:nvPr/>
        </p:nvSpPr>
        <p:spPr>
          <a:xfrm>
            <a:off x="4299411" y="1530216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25" name="그림 24">
            <a:extLst>
              <a:ext uri="{FF2B5EF4-FFF2-40B4-BE49-F238E27FC236}">
                <a16:creationId xmlns:a16="http://schemas.microsoft.com/office/drawing/2014/main" id="{073A6ACD-FB8D-F5F9-90D3-1F21609DC82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7489" y="1864830"/>
            <a:ext cx="4829794" cy="3681363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2EACF5F-8C74-8046-8DEA-DC3DA0B20853}"/>
              </a:ext>
            </a:extLst>
          </p:cNvPr>
          <p:cNvSpPr/>
          <p:nvPr/>
        </p:nvSpPr>
        <p:spPr>
          <a:xfrm>
            <a:off x="8682313" y="4732468"/>
            <a:ext cx="1985818" cy="486074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elect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ll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35131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D6CECAE0-FFF3-E938-18C5-1978CF01C4E2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74D0E-5C12-1056-9026-0B45B7454089}"/>
              </a:ext>
            </a:extLst>
          </p:cNvPr>
          <p:cNvSpPr txBox="1"/>
          <p:nvPr/>
        </p:nvSpPr>
        <p:spPr>
          <a:xfrm>
            <a:off x="0" y="61102"/>
            <a:ext cx="15295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Performanc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0" name="사각형: 둥근 모서리 29">
            <a:extLst>
              <a:ext uri="{FF2B5EF4-FFF2-40B4-BE49-F238E27FC236}">
                <a16:creationId xmlns:a16="http://schemas.microsoft.com/office/drawing/2014/main" id="{85C2001B-CA65-4B88-C5C4-5734766BE5DC}"/>
              </a:ext>
            </a:extLst>
          </p:cNvPr>
          <p:cNvSpPr/>
          <p:nvPr/>
        </p:nvSpPr>
        <p:spPr>
          <a:xfrm>
            <a:off x="3346922" y="1491290"/>
            <a:ext cx="2142056" cy="2678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ppliance Finder</a:t>
            </a:r>
            <a:endParaRPr lang="ko-KR" altLang="en-US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2" name="사각형: 둥근 모서리 31">
            <a:extLst>
              <a:ext uri="{FF2B5EF4-FFF2-40B4-BE49-F238E27FC236}">
                <a16:creationId xmlns:a16="http://schemas.microsoft.com/office/drawing/2014/main" id="{23A89787-F258-5B19-CEAB-AFDC5C39401C}"/>
              </a:ext>
            </a:extLst>
          </p:cNvPr>
          <p:cNvSpPr/>
          <p:nvPr/>
        </p:nvSpPr>
        <p:spPr>
          <a:xfrm>
            <a:off x="10714377" y="620713"/>
            <a:ext cx="1106148" cy="207132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2E7418B-6CA5-F81C-4F82-D52891AA333B}"/>
              </a:ext>
            </a:extLst>
          </p:cNvPr>
          <p:cNvSpPr txBox="1"/>
          <p:nvPr/>
        </p:nvSpPr>
        <p:spPr>
          <a:xfrm>
            <a:off x="10140181" y="626437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23FA5A-6E22-A563-7B8B-F71BE04EFEBB}"/>
              </a:ext>
            </a:extLst>
          </p:cNvPr>
          <p:cNvSpPr txBox="1"/>
          <p:nvPr/>
        </p:nvSpPr>
        <p:spPr>
          <a:xfrm>
            <a:off x="10140180" y="872496"/>
            <a:ext cx="57419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변경 필요 </a:t>
            </a:r>
            <a:r>
              <a:rPr lang="en-US" altLang="ko-KR" sz="7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endParaRPr lang="ko-KR" altLang="en-US" sz="7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사각형: 둥근 모서리 34">
            <a:extLst>
              <a:ext uri="{FF2B5EF4-FFF2-40B4-BE49-F238E27FC236}">
                <a16:creationId xmlns:a16="http://schemas.microsoft.com/office/drawing/2014/main" id="{65F7927C-ECBE-CF82-D822-F7D47E9F70EE}"/>
              </a:ext>
            </a:extLst>
          </p:cNvPr>
          <p:cNvSpPr/>
          <p:nvPr/>
        </p:nvSpPr>
        <p:spPr>
          <a:xfrm>
            <a:off x="10714377" y="861422"/>
            <a:ext cx="1106148" cy="207132"/>
          </a:xfrm>
          <a:prstGeom prst="round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59" name="그림 58">
            <a:extLst>
              <a:ext uri="{FF2B5EF4-FFF2-40B4-BE49-F238E27FC236}">
                <a16:creationId xmlns:a16="http://schemas.microsoft.com/office/drawing/2014/main" id="{6B35B79D-FA22-2F6F-FA6C-BBF1704BB1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6922" y="1819510"/>
            <a:ext cx="4924842" cy="3650084"/>
          </a:xfrm>
          <a:prstGeom prst="rect">
            <a:avLst/>
          </a:prstGeom>
        </p:spPr>
      </p:pic>
      <p:sp>
        <p:nvSpPr>
          <p:cNvPr id="51" name="사각형: 둥근 모서리 50">
            <a:extLst>
              <a:ext uri="{FF2B5EF4-FFF2-40B4-BE49-F238E27FC236}">
                <a16:creationId xmlns:a16="http://schemas.microsoft.com/office/drawing/2014/main" id="{8D032873-FAE2-BE68-26E0-C6E0AF4BDF41}"/>
              </a:ext>
            </a:extLst>
          </p:cNvPr>
          <p:cNvSpPr/>
          <p:nvPr/>
        </p:nvSpPr>
        <p:spPr>
          <a:xfrm>
            <a:off x="3800843" y="4704475"/>
            <a:ext cx="1985818" cy="48607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or better Energy Rating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3B70AD56-7343-51EC-C385-1D623DDD05A1}"/>
              </a:ext>
            </a:extLst>
          </p:cNvPr>
          <p:cNvSpPr/>
          <p:nvPr/>
        </p:nvSpPr>
        <p:spPr>
          <a:xfrm>
            <a:off x="4067338" y="5229496"/>
            <a:ext cx="1828365" cy="2616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dirty="0"/>
              <a:t>A~C </a:t>
            </a:r>
            <a:r>
              <a:rPr lang="ko-KR" altLang="en-US" sz="1200" dirty="0"/>
              <a:t>등급 까지 포함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607872-A0CF-825F-3F3B-1CEA481F4EE5}"/>
              </a:ext>
            </a:extLst>
          </p:cNvPr>
          <p:cNvSpPr txBox="1"/>
          <p:nvPr/>
        </p:nvSpPr>
        <p:spPr>
          <a:xfrm>
            <a:off x="3645012" y="5767437"/>
            <a:ext cx="55929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K</a:t>
            </a:r>
            <a:r>
              <a:rPr lang="ko-KR" altLang="en-US" sz="105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05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166E01B-4BC7-E1FA-7C3B-946A42D2D212}"/>
              </a:ext>
            </a:extLst>
          </p:cNvPr>
          <p:cNvSpPr/>
          <p:nvPr/>
        </p:nvSpPr>
        <p:spPr>
          <a:xfrm>
            <a:off x="5873798" y="4704476"/>
            <a:ext cx="1985818" cy="486074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elect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ll</a:t>
            </a:r>
            <a:r>
              <a:rPr lang="ko-KR" altLang="en-US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en-US" altLang="ko-KR" sz="9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endParaRPr lang="ko-KR" altLang="en-US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19501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D6CECAE0-FFF3-E938-18C5-1978CF01C4E2}"/>
              </a:ext>
            </a:extLst>
          </p:cNvPr>
          <p:cNvSpPr/>
          <p:nvPr/>
        </p:nvSpPr>
        <p:spPr>
          <a:xfrm>
            <a:off x="0" y="0"/>
            <a:ext cx="12192000" cy="4915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F974D0E-5C12-1056-9026-0B45B7454089}"/>
              </a:ext>
            </a:extLst>
          </p:cNvPr>
          <p:cNvSpPr txBox="1"/>
          <p:nvPr/>
        </p:nvSpPr>
        <p:spPr>
          <a:xfrm>
            <a:off x="0" y="61102"/>
            <a:ext cx="9973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Feature</a:t>
            </a:r>
            <a:endParaRPr lang="ko-KR" altLang="en-US" dirty="0">
              <a:solidFill>
                <a:schemeClr val="bg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785B9D25-7770-C288-CB16-15991A4E7945}"/>
              </a:ext>
            </a:extLst>
          </p:cNvPr>
          <p:cNvGrpSpPr/>
          <p:nvPr/>
        </p:nvGrpSpPr>
        <p:grpSpPr>
          <a:xfrm>
            <a:off x="5270842" y="848388"/>
            <a:ext cx="4691346" cy="5870991"/>
            <a:chOff x="5242850" y="829727"/>
            <a:chExt cx="4691346" cy="5870991"/>
          </a:xfrm>
        </p:grpSpPr>
        <p:grpSp>
          <p:nvGrpSpPr>
            <p:cNvPr id="79" name="그룹 78">
              <a:extLst>
                <a:ext uri="{FF2B5EF4-FFF2-40B4-BE49-F238E27FC236}">
                  <a16:creationId xmlns:a16="http://schemas.microsoft.com/office/drawing/2014/main" id="{C04189E9-1C42-E9F4-21D9-E2745F1CBC16}"/>
                </a:ext>
              </a:extLst>
            </p:cNvPr>
            <p:cNvGrpSpPr/>
            <p:nvPr/>
          </p:nvGrpSpPr>
          <p:grpSpPr>
            <a:xfrm>
              <a:off x="5242850" y="829727"/>
              <a:ext cx="4691346" cy="5870991"/>
              <a:chOff x="3527897" y="829727"/>
              <a:chExt cx="4691346" cy="5870991"/>
            </a:xfrm>
          </p:grpSpPr>
          <p:pic>
            <p:nvPicPr>
              <p:cNvPr id="50" name="그림 49">
                <a:extLst>
                  <a:ext uri="{FF2B5EF4-FFF2-40B4-BE49-F238E27FC236}">
                    <a16:creationId xmlns:a16="http://schemas.microsoft.com/office/drawing/2014/main" id="{CF245409-EF71-AB9B-2A6B-233BF86E25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27897" y="1095673"/>
                <a:ext cx="4691346" cy="5605045"/>
              </a:xfrm>
              <a:prstGeom prst="rect">
                <a:avLst/>
              </a:prstGeom>
            </p:spPr>
          </p:pic>
          <p:sp>
            <p:nvSpPr>
              <p:cNvPr id="51" name="사각형: 둥근 모서리 50">
                <a:extLst>
                  <a:ext uri="{FF2B5EF4-FFF2-40B4-BE49-F238E27FC236}">
                    <a16:creationId xmlns:a16="http://schemas.microsoft.com/office/drawing/2014/main" id="{DC46CC4D-805F-F155-5672-3C2069289F0F}"/>
                  </a:ext>
                </a:extLst>
              </p:cNvPr>
              <p:cNvSpPr/>
              <p:nvPr/>
            </p:nvSpPr>
            <p:spPr>
              <a:xfrm>
                <a:off x="3527898" y="829727"/>
                <a:ext cx="2142056" cy="267866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LG스마트체 SemiBold" panose="020B0600000101010101" pitchFamily="50" charset="-127"/>
                    <a:ea typeface="LG스마트체 SemiBold" panose="020B0600000101010101" pitchFamily="50" charset="-127"/>
                  </a:rPr>
                  <a:t>Appliance Finder</a:t>
                </a:r>
                <a:endParaRPr lang="ko-KR" altLang="en-US" dirty="0">
                  <a:latin typeface="LG스마트체 SemiBold" panose="020B0600000101010101" pitchFamily="50" charset="-127"/>
                  <a:ea typeface="LG스마트체 SemiBold" panose="020B0600000101010101" pitchFamily="50" charset="-127"/>
                </a:endParaRPr>
              </a:p>
            </p:txBody>
          </p:sp>
          <p:sp>
            <p:nvSpPr>
              <p:cNvPr id="63" name="사각형: 둥근 모서리 62">
                <a:extLst>
                  <a:ext uri="{FF2B5EF4-FFF2-40B4-BE49-F238E27FC236}">
                    <a16:creationId xmlns:a16="http://schemas.microsoft.com/office/drawing/2014/main" id="{A2E84829-6C60-25F8-67B2-6F5D7C228EF7}"/>
                  </a:ext>
                </a:extLst>
              </p:cNvPr>
              <p:cNvSpPr/>
              <p:nvPr/>
            </p:nvSpPr>
            <p:spPr>
              <a:xfrm>
                <a:off x="3586618" y="4514982"/>
                <a:ext cx="2201786" cy="568731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Extra Storage</a:t>
                </a:r>
                <a:endParaRPr lang="ko-KR" altLang="en-US" sz="900" dirty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64" name="사각형: 둥근 모서리 63">
                <a:extLst>
                  <a:ext uri="{FF2B5EF4-FFF2-40B4-BE49-F238E27FC236}">
                    <a16:creationId xmlns:a16="http://schemas.microsoft.com/office/drawing/2014/main" id="{8DB44263-CE3D-DB49-EB83-D425F93D1EC5}"/>
                  </a:ext>
                </a:extLst>
              </p:cNvPr>
              <p:cNvSpPr/>
              <p:nvPr/>
            </p:nvSpPr>
            <p:spPr>
              <a:xfrm>
                <a:off x="5900241" y="4514982"/>
                <a:ext cx="2201786" cy="568731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Reversible Door</a:t>
                </a:r>
                <a:endParaRPr lang="ko-KR" altLang="en-US" sz="900" dirty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65" name="사각형: 둥근 모서리 64">
                <a:extLst>
                  <a:ext uri="{FF2B5EF4-FFF2-40B4-BE49-F238E27FC236}">
                    <a16:creationId xmlns:a16="http://schemas.microsoft.com/office/drawing/2014/main" id="{6806A73F-4431-C3EC-3A47-AD5924E07BED}"/>
                  </a:ext>
                </a:extLst>
              </p:cNvPr>
              <p:cNvSpPr/>
              <p:nvPr/>
            </p:nvSpPr>
            <p:spPr>
              <a:xfrm>
                <a:off x="5900241" y="5119119"/>
                <a:ext cx="2201786" cy="568731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 dirty="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Wine Rack</a:t>
                </a:r>
                <a:endParaRPr lang="ko-KR" altLang="en-US" sz="900" dirty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69" name="직사각형 68">
                <a:extLst>
                  <a:ext uri="{FF2B5EF4-FFF2-40B4-BE49-F238E27FC236}">
                    <a16:creationId xmlns:a16="http://schemas.microsoft.com/office/drawing/2014/main" id="{F3F061A4-69C9-3BE1-9187-9D6ECF601DAE}"/>
                  </a:ext>
                </a:extLst>
              </p:cNvPr>
              <p:cNvSpPr/>
              <p:nvPr/>
            </p:nvSpPr>
            <p:spPr>
              <a:xfrm>
                <a:off x="3952875" y="4655538"/>
                <a:ext cx="1437633" cy="301203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6" name="사각형: 둥근 모서리 15">
                <a:extLst>
                  <a:ext uri="{FF2B5EF4-FFF2-40B4-BE49-F238E27FC236}">
                    <a16:creationId xmlns:a16="http://schemas.microsoft.com/office/drawing/2014/main" id="{33252804-76EC-2F0E-4599-204828D98943}"/>
                  </a:ext>
                </a:extLst>
              </p:cNvPr>
              <p:cNvSpPr/>
              <p:nvPr/>
            </p:nvSpPr>
            <p:spPr>
              <a:xfrm>
                <a:off x="5900241" y="5725005"/>
                <a:ext cx="2201786" cy="568731"/>
              </a:xfrm>
              <a:prstGeom prst="roundRect">
                <a:avLst/>
              </a:prstGeom>
              <a:solidFill>
                <a:srgbClr val="FFC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90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Select</a:t>
                </a:r>
                <a:r>
                  <a:rPr lang="ko-KR" altLang="en-US" sz="90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</a:t>
                </a:r>
                <a:r>
                  <a:rPr lang="en-US" altLang="ko-KR" sz="90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All</a:t>
                </a:r>
                <a:r>
                  <a:rPr lang="ko-KR" altLang="en-US" sz="90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 </a:t>
                </a:r>
                <a:r>
                  <a:rPr lang="en-US" altLang="ko-KR" sz="90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Option</a:t>
                </a:r>
                <a:r>
                  <a:rPr lang="en-US" altLang="ko-KR" sz="900" dirty="0">
                    <a:solidFill>
                      <a:schemeClr val="tx1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s</a:t>
                </a:r>
                <a:endParaRPr lang="ko-KR" altLang="en-US" sz="900" dirty="0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</p:grpSp>
        <p:sp>
          <p:nvSpPr>
            <p:cNvPr id="5" name="직사각형 4">
              <a:extLst>
                <a:ext uri="{FF2B5EF4-FFF2-40B4-BE49-F238E27FC236}">
                  <a16:creationId xmlns:a16="http://schemas.microsoft.com/office/drawing/2014/main" id="{F6DF4BD0-0778-89E1-1CB2-F5D56E36D8C3}"/>
                </a:ext>
              </a:extLst>
            </p:cNvPr>
            <p:cNvSpPr/>
            <p:nvPr/>
          </p:nvSpPr>
          <p:spPr>
            <a:xfrm>
              <a:off x="5554312" y="4551423"/>
              <a:ext cx="1664664" cy="208229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900" dirty="0" err="1"/>
                <a:t>Exta</a:t>
              </a:r>
              <a:r>
                <a:rPr lang="en-US" altLang="ko-KR" sz="900" dirty="0"/>
                <a:t> Storage </a:t>
              </a:r>
              <a:r>
                <a:rPr lang="ko-KR" altLang="en-US" sz="900" dirty="0"/>
                <a:t>옵션 삭제</a:t>
              </a:r>
            </a:p>
          </p:txBody>
        </p:sp>
      </p:grpSp>
      <p:pic>
        <p:nvPicPr>
          <p:cNvPr id="12" name="그림 11">
            <a:extLst>
              <a:ext uri="{FF2B5EF4-FFF2-40B4-BE49-F238E27FC236}">
                <a16:creationId xmlns:a16="http://schemas.microsoft.com/office/drawing/2014/main" id="{F1C26130-EF99-4CC4-ABAF-5406F0A74A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8049" y="4009200"/>
            <a:ext cx="3909399" cy="2149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765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9</TotalTime>
  <Words>378</Words>
  <Application>Microsoft Office PowerPoint</Application>
  <PresentationFormat>와이드스크린</PresentationFormat>
  <Paragraphs>116</Paragraphs>
  <Slides>10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7" baseType="lpstr">
      <vt:lpstr>LG스마트체 Regular</vt:lpstr>
      <vt:lpstr>LG스마트체 SemiBold</vt:lpstr>
      <vt:lpstr>맑은 고딕</vt:lpstr>
      <vt:lpstr>Arial</vt:lpstr>
      <vt:lpstr>Arial Narrow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양승원(Theo)</dc:creator>
  <cp:lastModifiedBy>유세희(Sammy)</cp:lastModifiedBy>
  <cp:revision>25</cp:revision>
  <dcterms:created xsi:type="dcterms:W3CDTF">2022-10-18T04:16:38Z</dcterms:created>
  <dcterms:modified xsi:type="dcterms:W3CDTF">2022-11-07T07:40:14Z</dcterms:modified>
</cp:coreProperties>
</file>